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2" r:id="rId5"/>
    <p:sldMasterId id="2147483682" r:id="rId6"/>
    <p:sldMasterId id="2147483687" r:id="rId7"/>
    <p:sldMasterId id="2147483700" r:id="rId8"/>
    <p:sldMasterId id="2147483706" r:id="rId9"/>
    <p:sldMasterId id="2147483720" r:id="rId10"/>
    <p:sldMasterId id="2147483725" r:id="rId11"/>
  </p:sldMasterIdLst>
  <p:notesMasterIdLst>
    <p:notesMasterId r:id="rId14"/>
  </p:notesMasterIdLst>
  <p:handoutMasterIdLst>
    <p:handoutMasterId r:id="rId15"/>
  </p:handoutMasterIdLst>
  <p:sldIdLst>
    <p:sldId id="1511" r:id="rId12"/>
    <p:sldId id="1510" r:id="rId13"/>
  </p:sldIdLst>
  <p:sldSz cx="12801600" cy="9601200" type="A3"/>
  <p:notesSz cx="14355763" cy="9926638"/>
  <p:custDataLst>
    <p:tags r:id="rId16"/>
  </p:custDataLst>
  <p:defaultTextStyle>
    <a:defPPr>
      <a:defRPr lang="fr-FR"/>
    </a:defPPr>
    <a:lvl1pPr marL="0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1pPr>
    <a:lvl2pPr marL="853410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2pPr>
    <a:lvl3pPr marL="1706819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3pPr>
    <a:lvl4pPr marL="2560229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4pPr>
    <a:lvl5pPr marL="3413638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5pPr>
    <a:lvl6pPr marL="4267048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6pPr>
    <a:lvl7pPr marL="5120457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7pPr>
    <a:lvl8pPr marL="5973867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8pPr>
    <a:lvl9pPr marL="6827276" algn="l" defTabSz="853410" rtl="0" eaLnBrk="1" latinLnBrk="0" hangingPunct="1">
      <a:defRPr sz="33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07ACB740-76C1-4CDA-8418-66AF3E0D2E12}">
          <p14:sldIdLst>
            <p14:sldId id="1511"/>
            <p14:sldId id="1510"/>
          </p14:sldIdLst>
        </p14:section>
        <p14:section name="Backups" id="{D810126B-E50F-454F-B287-B98F5DC8609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981" userDrawn="1">
          <p15:clr>
            <a:srgbClr val="A4A3A4"/>
          </p15:clr>
        </p15:guide>
        <p15:guide id="2" pos="33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erry Fraudet" initials="TF" lastIdx="5" clrIdx="0"/>
  <p:cmAuthor id="2" name="Lea" initials="L" lastIdx="1" clrIdx="1">
    <p:extLst>
      <p:ext uri="{19B8F6BF-5375-455C-9EA6-DF929625EA0E}">
        <p15:presenceInfo xmlns:p15="http://schemas.microsoft.com/office/powerpoint/2012/main" userId="Lea" providerId="None"/>
      </p:ext>
    </p:extLst>
  </p:cmAuthor>
  <p:cmAuthor id="3" name="NICOLAS CHEVALIER" initials="NC" lastIdx="1" clrIdx="2">
    <p:extLst>
      <p:ext uri="{19B8F6BF-5375-455C-9EA6-DF929625EA0E}">
        <p15:presenceInfo xmlns:p15="http://schemas.microsoft.com/office/powerpoint/2012/main" userId="0b620b125fcccd4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BDF1"/>
    <a:srgbClr val="5AC9AC"/>
    <a:srgbClr val="9EC633"/>
    <a:srgbClr val="9BBB59"/>
    <a:srgbClr val="DADADA"/>
    <a:srgbClr val="5FBFBB"/>
    <a:srgbClr val="00B0F0"/>
    <a:srgbClr val="F8F8F8"/>
    <a:srgbClr val="95C11F"/>
    <a:srgbClr val="F39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E98BAA-C376-4D50-ABB2-636C34D923CD}" v="4" dt="2020-10-21T08:02:13.4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304" autoAdjust="0"/>
    <p:restoredTop sz="82623" autoAdjust="0"/>
  </p:normalViewPr>
  <p:slideViewPr>
    <p:cSldViewPr snapToGrid="0">
      <p:cViewPr varScale="1">
        <p:scale>
          <a:sx n="67" d="100"/>
          <a:sy n="67" d="100"/>
        </p:scale>
        <p:origin x="870" y="60"/>
      </p:cViewPr>
      <p:guideLst>
        <p:guide orient="horz" pos="2981"/>
        <p:guide pos="3397"/>
      </p:guideLst>
    </p:cSldViewPr>
  </p:slideViewPr>
  <p:outlineViewPr>
    <p:cViewPr>
      <p:scale>
        <a:sx n="33" d="100"/>
        <a:sy n="33" d="100"/>
      </p:scale>
      <p:origin x="0" y="806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59" d="100"/>
        <a:sy n="59" d="100"/>
      </p:scale>
      <p:origin x="0" y="0"/>
    </p:cViewPr>
  </p:sorterViewPr>
  <p:notesViewPr>
    <p:cSldViewPr snapToGrid="0" showGuides="1">
      <p:cViewPr varScale="1">
        <p:scale>
          <a:sx n="114" d="100"/>
          <a:sy n="114" d="100"/>
        </p:scale>
        <p:origin x="2376" y="45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9BFAC1C7-9E5D-4441-A8DE-D4FA72AEF22D}" type="datetimeFigureOut">
              <a:rPr lang="fr-FR" smtClean="0"/>
              <a:t>21/10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3549939F-CAB9-FE40-8FD3-31C143F5FB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04252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8131610" y="0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D15EC3C-BFA7-9E4C-BB13-BAA5658834CA}" type="datetimeFigureOut">
              <a:rPr lang="fr-FR" smtClean="0"/>
              <a:t>21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695825" y="744538"/>
            <a:ext cx="496411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97545" y="4715155"/>
            <a:ext cx="12648142" cy="3116537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8131610" y="9428584"/>
            <a:ext cx="6220831" cy="496332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5DEDB5E3-C477-CC4C-8674-BAC7A0562584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Graphique 8" descr="Cible">
            <a:extLst>
              <a:ext uri="{FF2B5EF4-FFF2-40B4-BE49-F238E27FC236}">
                <a16:creationId xmlns:a16="http://schemas.microsoft.com/office/drawing/2014/main" id="{D55A4087-F0C7-4BFF-885C-5D4194568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133806"/>
            <a:ext cx="1914102" cy="992664"/>
          </a:xfrm>
          <a:prstGeom prst="rect">
            <a:avLst/>
          </a:prstGeom>
        </p:spPr>
      </p:pic>
      <p:sp>
        <p:nvSpPr>
          <p:cNvPr id="10" name="Espace réservé des commentaires 4">
            <a:extLst>
              <a:ext uri="{FF2B5EF4-FFF2-40B4-BE49-F238E27FC236}">
                <a16:creationId xmlns:a16="http://schemas.microsoft.com/office/drawing/2014/main" id="{9EA060DA-AD3F-4E58-9E10-24B2ED513D81}"/>
              </a:ext>
            </a:extLst>
          </p:cNvPr>
          <p:cNvSpPr txBox="1">
            <a:spLocks/>
          </p:cNvSpPr>
          <p:nvPr/>
        </p:nvSpPr>
        <p:spPr>
          <a:xfrm>
            <a:off x="1996306" y="8002211"/>
            <a:ext cx="10796666" cy="116242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10704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1pPr>
    <a:lvl2pPr marL="853410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2pPr>
    <a:lvl3pPr marL="1706819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3pPr>
    <a:lvl4pPr marL="2560229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4pPr>
    <a:lvl5pPr marL="3413638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5pPr>
    <a:lvl6pPr marL="4267048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6pPr>
    <a:lvl7pPr marL="5120457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7pPr>
    <a:lvl8pPr marL="5973867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8pPr>
    <a:lvl9pPr marL="6827276" algn="l" defTabSz="853410" rtl="0" eaLnBrk="1" latinLnBrk="0" hangingPunct="1">
      <a:defRPr sz="22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695825" y="744538"/>
            <a:ext cx="4964113" cy="3722687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11395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695825" y="744538"/>
            <a:ext cx="4964113" cy="3722687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EDB5E3-C477-CC4C-8674-BAC7A0562584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1502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4322207" cy="96012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graphicFrame>
        <p:nvGraphicFramePr>
          <p:cNvPr id="11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86247098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27509B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93340" y="416115"/>
            <a:ext cx="2829870" cy="2214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38851" y="7890736"/>
            <a:ext cx="2538848" cy="1752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907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598" y="7543458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93615" y="288702"/>
            <a:ext cx="3137213" cy="2199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5190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3635022" y="3842322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6" name="Image 5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1524" y="1248554"/>
            <a:ext cx="4900077" cy="3812211"/>
          </a:xfrm>
          <a:prstGeom prst="rect">
            <a:avLst/>
          </a:prstGeom>
        </p:spPr>
      </p:pic>
      <p:pic>
        <p:nvPicPr>
          <p:cNvPr id="9" name="Image 8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425256"/>
            <a:ext cx="4741199" cy="4755442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598" y="7543458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197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5661942" y="3842322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 CHAPITR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0"/>
            <a:ext cx="4682063" cy="96012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598" y="7543458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7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3697433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470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161124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592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3520440" y="3804111"/>
            <a:ext cx="5760720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</a:t>
            </a:r>
            <a:br>
              <a:rPr lang="fr-FR"/>
            </a:br>
            <a:r>
              <a:rPr lang="fr-FR"/>
              <a:t>CHAPITR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8931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71896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27339-EA36-444E-85CB-9D714C78FFAE}"/>
              </a:ext>
            </a:extLst>
          </p:cNvPr>
          <p:cNvSpPr/>
          <p:nvPr userDrawn="1"/>
        </p:nvSpPr>
        <p:spPr>
          <a:xfrm>
            <a:off x="0" y="0"/>
            <a:ext cx="12801600" cy="9601200"/>
          </a:xfrm>
          <a:prstGeom prst="rect">
            <a:avLst/>
          </a:prstGeom>
          <a:solidFill>
            <a:srgbClr val="00CC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28964" lvl="1"/>
            <a:endParaRPr lang="en-US" sz="1540" dirty="0">
              <a:latin typeface="Michelin Black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33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767536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1236" y="293291"/>
            <a:ext cx="3101151" cy="2427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73599" y="7899543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201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1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6005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4322207" cy="96012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Picture 2" descr="C:\Users\F299251\Pictures\Nouveau Logo MICHELIN\Michelin_G_Stacked_WhiteBG_061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2153" y="7554259"/>
            <a:ext cx="2829870" cy="2214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41144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5661942" y="4231781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0"/>
            <a:ext cx="4682063" cy="9601200"/>
          </a:xfrm>
          <a:prstGeom prst="rect">
            <a:avLst/>
          </a:prstGeom>
        </p:spPr>
      </p:pic>
      <p:pic>
        <p:nvPicPr>
          <p:cNvPr id="6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0988" y="7538872"/>
            <a:ext cx="2868747" cy="2245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889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3646873" y="4231781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Black" pitchFamily="50" charset="0"/>
                <a:cs typeface="Arial"/>
              </a:defRPr>
            </a:lvl1pPr>
          </a:lstStyle>
          <a:p>
            <a:r>
              <a:rPr lang="fr-FR"/>
              <a:t>MERCI !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136" y="876749"/>
            <a:ext cx="7755466" cy="7404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47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53065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9840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852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1069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433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6127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82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57562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maincadr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1524" y="1248554"/>
            <a:ext cx="4900077" cy="3812211"/>
          </a:xfrm>
          <a:prstGeom prst="rect">
            <a:avLst/>
          </a:prstGeom>
        </p:spPr>
      </p:pic>
      <p:pic>
        <p:nvPicPr>
          <p:cNvPr id="3" name="Image 2" descr="maincadre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425256"/>
            <a:ext cx="4741199" cy="4755442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3635022" y="3842322"/>
            <a:ext cx="5531557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10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55455220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0988" y="7538872"/>
            <a:ext cx="2868747" cy="2245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31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1180410" y="1223246"/>
            <a:ext cx="11151177" cy="7658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68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3" y="-1664"/>
            <a:ext cx="1064211" cy="4007717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520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32106" y="2483519"/>
            <a:ext cx="11820607" cy="6175342"/>
          </a:xfrm>
          <a:prstGeom prst="rect">
            <a:avLst/>
          </a:prstGeom>
        </p:spPr>
        <p:txBody>
          <a:bodyPr>
            <a:normAutofit/>
          </a:bodyPr>
          <a:lstStyle>
            <a:lvl1pPr marL="353385" indent="-353385">
              <a:buClr>
                <a:schemeClr val="bg2"/>
              </a:buClr>
              <a:buFontTx/>
              <a:buBlip>
                <a:blip r:embed="rId2"/>
              </a:buBlip>
              <a:defRPr sz="252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75680" indent="-373387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252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958" indent="-382278">
              <a:buClr>
                <a:schemeClr val="accent2"/>
              </a:buClr>
              <a:buFont typeface="Arial" panose="020B0604020202020204" pitchFamily="34" charset="0"/>
              <a:buChar char="•"/>
              <a:defRPr sz="224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1159202" y="134400"/>
            <a:ext cx="11176887" cy="1060976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52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69399" y="8587718"/>
            <a:ext cx="1624065" cy="100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532105" y="9153310"/>
            <a:ext cx="750960" cy="34272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1280183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84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1280183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84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503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75451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438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898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 simple (ble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1180410" y="1223246"/>
            <a:ext cx="11151177" cy="7658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fr-FR" sz="1680" b="0" i="1" cap="small" baseline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 </a:t>
            </a:r>
            <a:r>
              <a:rPr lang="en-US" err="1"/>
              <a:t>ici</a:t>
            </a:r>
            <a:endParaRPr lang="en-US"/>
          </a:p>
        </p:txBody>
      </p:sp>
      <p:sp>
        <p:nvSpPr>
          <p:cNvPr id="14" name="Rectangle 4"/>
          <p:cNvSpPr/>
          <p:nvPr/>
        </p:nvSpPr>
        <p:spPr>
          <a:xfrm>
            <a:off x="3" y="-1664"/>
            <a:ext cx="1064211" cy="4007717"/>
          </a:xfrm>
          <a:custGeom>
            <a:avLst/>
            <a:gdLst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1330960 w 1330960"/>
              <a:gd name="connsiteY2" fmla="*/ 3759199 h 3759199"/>
              <a:gd name="connsiteX3" fmla="*/ 0 w 1330960"/>
              <a:gd name="connsiteY3" fmla="*/ 3759199 h 3759199"/>
              <a:gd name="connsiteX4" fmla="*/ 0 w 1330960"/>
              <a:gd name="connsiteY4" fmla="*/ 0 h 3759199"/>
              <a:gd name="connsiteX0" fmla="*/ 0 w 1330960"/>
              <a:gd name="connsiteY0" fmla="*/ 0 h 3759199"/>
              <a:gd name="connsiteX1" fmla="*/ 1330960 w 1330960"/>
              <a:gd name="connsiteY1" fmla="*/ 0 h 3759199"/>
              <a:gd name="connsiteX2" fmla="*/ 0 w 1330960"/>
              <a:gd name="connsiteY2" fmla="*/ 3759199 h 3759199"/>
              <a:gd name="connsiteX3" fmla="*/ 0 w 1330960"/>
              <a:gd name="connsiteY3" fmla="*/ 0 h 375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0960" h="3759199">
                <a:moveTo>
                  <a:pt x="0" y="0"/>
                </a:moveTo>
                <a:lnTo>
                  <a:pt x="1330960" y="0"/>
                </a:lnTo>
                <a:lnTo>
                  <a:pt x="0" y="3759199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520"/>
          </a:p>
        </p:txBody>
      </p:sp>
      <p:sp>
        <p:nvSpPr>
          <p:cNvPr id="3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532106" y="2483519"/>
            <a:ext cx="11820607" cy="6175342"/>
          </a:xfrm>
          <a:prstGeom prst="rect">
            <a:avLst/>
          </a:prstGeom>
        </p:spPr>
        <p:txBody>
          <a:bodyPr>
            <a:normAutofit/>
          </a:bodyPr>
          <a:lstStyle>
            <a:lvl1pPr marL="353385" indent="-353385">
              <a:buClr>
                <a:schemeClr val="bg2"/>
              </a:buClr>
              <a:buFontTx/>
              <a:buBlip>
                <a:blip r:embed="rId2"/>
              </a:buBlip>
              <a:defRPr sz="252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75680" indent="-373387">
              <a:buClr>
                <a:schemeClr val="tx2"/>
              </a:buClr>
              <a:buSzPct val="80000"/>
              <a:buFont typeface="Wingdings 3" panose="05040102010807070707" pitchFamily="18" charset="2"/>
              <a:buChar char=""/>
              <a:defRPr sz="252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958" indent="-382278">
              <a:buClr>
                <a:schemeClr val="accent2"/>
              </a:buClr>
              <a:buFont typeface="Arial" panose="020B0604020202020204" pitchFamily="34" charset="0"/>
              <a:buChar char="•"/>
              <a:defRPr sz="2240" i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Michelin" pitchFamily="50" charset="0"/>
              </a:defRPr>
            </a:lvl4pPr>
            <a:lvl5pPr>
              <a:defRPr>
                <a:latin typeface="Michelin" pitchFamily="50" charset="0"/>
              </a:defRPr>
            </a:lvl5pPr>
          </a:lstStyle>
          <a:p>
            <a:pPr lvl="0"/>
            <a:r>
              <a:rPr lang="en-US" noProof="0"/>
              <a:t>Cliquer pour modifier les styles du </a:t>
            </a:r>
            <a:r>
              <a:rPr lang="en-US" noProof="0" err="1"/>
              <a:t>texte</a:t>
            </a:r>
            <a:r>
              <a:rPr lang="en-US" noProof="0"/>
              <a:t> du masque</a:t>
            </a:r>
          </a:p>
          <a:p>
            <a:pPr lvl="1"/>
            <a:r>
              <a:rPr lang="en-US" noProof="0" err="1"/>
              <a:t>Deux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oisièm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31" name="Titre 1"/>
          <p:cNvSpPr>
            <a:spLocks noGrp="1"/>
          </p:cNvSpPr>
          <p:nvPr>
            <p:ph type="title" hasCustomPrompt="1"/>
          </p:nvPr>
        </p:nvSpPr>
        <p:spPr>
          <a:xfrm>
            <a:off x="1159202" y="134400"/>
            <a:ext cx="11176887" cy="1060976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520" b="1" i="0" cap="small" baseline="0">
                <a:solidFill>
                  <a:srgbClr val="D327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err="1"/>
              <a:t>Titre</a:t>
            </a:r>
            <a:r>
              <a:rPr lang="en-US"/>
              <a:t> de la page</a:t>
            </a:r>
          </a:p>
        </p:txBody>
      </p:sp>
      <p:pic>
        <p:nvPicPr>
          <p:cNvPr id="7" name="Picture 3" descr="C:\Users\F299251\Documents\DGSI\LOGO\dgsi_2016-CMJN-F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69399" y="8587718"/>
            <a:ext cx="1624065" cy="100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532105" y="9153310"/>
            <a:ext cx="750960" cy="34272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1280183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SzTx/>
              <a:buFont typeface="Wingdings" pitchFamily="2" charset="2"/>
              <a:buNone/>
              <a:tabLst/>
            </a:pPr>
            <a:fld id="{597A8DCA-8F96-49CD-B4D5-7AC92F955860}" type="slidenum">
              <a:rPr kumimoji="0" lang="en-US" sz="840" u="none" strike="noStrike" kern="1200" cap="none" normalizeH="0" baseline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1280183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F6600"/>
                </a:buClr>
                <a:buSzTx/>
                <a:buFont typeface="Wingdings" pitchFamily="2" charset="2"/>
                <a:buNone/>
                <a:tabLst/>
              </a:pPr>
              <a:t>‹N°›</a:t>
            </a:fld>
            <a:endParaRPr kumimoji="0" lang="en-US" sz="840" u="none" strike="noStrike" kern="1200" cap="none" normalizeH="0" baseline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914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rgbClr val="27509B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27509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27509B"/>
              </a:buClr>
              <a:buFont typeface="Wingdings" charset="2"/>
              <a:buChar char=""/>
              <a:defRPr sz="2800" b="1" i="1" baseline="0">
                <a:solidFill>
                  <a:srgbClr val="27509B"/>
                </a:solidFill>
              </a:defRPr>
            </a:lvl1pPr>
            <a:lvl2pPr marL="1040150" indent="-400058">
              <a:buClr>
                <a:srgbClr val="27509B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600229" indent="-320046">
              <a:buClr>
                <a:srgbClr val="27509B"/>
              </a:buClr>
              <a:buFont typeface="Arial" panose="020B0604020202020204" pitchFamily="34" charset="0"/>
              <a:buChar char="•"/>
              <a:defRPr sz="252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2240320" indent="-320046">
              <a:buClr>
                <a:srgbClr val="27509B"/>
              </a:buClr>
              <a:buFont typeface="Lucida Grande"/>
              <a:buChar char="▸"/>
              <a:defRPr sz="1960" i="1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880411" indent="-320046">
              <a:buClr>
                <a:srgbClr val="27509B"/>
              </a:buClr>
              <a:buFont typeface="Wingdings" panose="05000000000000000000" pitchFamily="2" charset="2"/>
              <a:buChar char="§"/>
              <a:defRPr sz="168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6039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8740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bg>
      <p:bgPr>
        <a:solidFill>
          <a:srgbClr val="0020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40080" y="384494"/>
            <a:ext cx="11521440" cy="512030"/>
          </a:xfrm>
          <a:prstGeom prst="rect">
            <a:avLst/>
          </a:prstGeom>
        </p:spPr>
        <p:txBody>
          <a:bodyPr/>
          <a:lstStyle>
            <a:lvl1pPr>
              <a:defRPr sz="2520" b="0" i="0">
                <a:solidFill>
                  <a:schemeClr val="bg1"/>
                </a:solidFill>
                <a:latin typeface="Michelin SemiBold" pitchFamily="50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40080" y="1054578"/>
            <a:ext cx="11521440" cy="40735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60" b="0" i="1">
                <a:solidFill>
                  <a:schemeClr val="bg1"/>
                </a:solidFill>
              </a:defRPr>
            </a:lvl1pPr>
            <a:lvl2pPr marL="640091" indent="0">
              <a:buNone/>
              <a:defRPr sz="2800" b="1"/>
            </a:lvl2pPr>
            <a:lvl3pPr marL="1280183" indent="0">
              <a:buNone/>
              <a:defRPr sz="2520" b="1"/>
            </a:lvl3pPr>
            <a:lvl4pPr marL="1920274" indent="0">
              <a:buNone/>
              <a:defRPr sz="2240" b="1"/>
            </a:lvl4pPr>
            <a:lvl5pPr marL="2560366" indent="0">
              <a:buNone/>
              <a:defRPr sz="2240" b="1"/>
            </a:lvl5pPr>
            <a:lvl6pPr marL="3200457" indent="0">
              <a:buNone/>
              <a:defRPr sz="2240" b="1"/>
            </a:lvl6pPr>
            <a:lvl7pPr marL="3840549" indent="0">
              <a:buNone/>
              <a:defRPr sz="2240" b="1"/>
            </a:lvl7pPr>
            <a:lvl8pPr marL="4480640" indent="0">
              <a:buNone/>
              <a:defRPr sz="2240" b="1"/>
            </a:lvl8pPr>
            <a:lvl9pPr marL="5120731" indent="0">
              <a:buNone/>
              <a:defRPr sz="2240" b="1"/>
            </a:lvl9pPr>
          </a:lstStyle>
          <a:p>
            <a:pPr lvl="0"/>
            <a:r>
              <a:rPr lang="fr-FR"/>
              <a:t>Cliquez pour modifier le sous-titre</a:t>
            </a:r>
          </a:p>
        </p:txBody>
      </p:sp>
      <p:sp>
        <p:nvSpPr>
          <p:cNvPr id="1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4" y="991355"/>
            <a:ext cx="1337732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241" y="4765043"/>
            <a:ext cx="53340" cy="53340"/>
          </a:xfrm>
          <a:prstGeom prst="rect">
            <a:avLst/>
          </a:prstGeom>
        </p:spPr>
      </p:pic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40080" y="2150535"/>
            <a:ext cx="11521440" cy="6426095"/>
          </a:xfrm>
          <a:prstGeom prst="rect">
            <a:avLst/>
          </a:prstGeom>
        </p:spPr>
        <p:txBody>
          <a:bodyPr/>
          <a:lstStyle>
            <a:lvl1pPr marL="480069" indent="-480069">
              <a:buClr>
                <a:srgbClr val="FFE500"/>
              </a:buClr>
              <a:buFont typeface="Wingdings" charset="2"/>
              <a:buChar char=""/>
              <a:defRPr sz="2800" b="1" i="1" baseline="0">
                <a:solidFill>
                  <a:schemeClr val="bg1"/>
                </a:solidFill>
              </a:defRPr>
            </a:lvl1pPr>
            <a:lvl2pPr marL="1040150" indent="-400058">
              <a:buClr>
                <a:srgbClr val="FFE500"/>
              </a:buClr>
              <a:buSzPct val="100000"/>
              <a:buFont typeface="Rounded Elegance" panose="02020603050405020304" pitchFamily="18" charset="0"/>
              <a:buChar char="✓"/>
              <a:defRPr sz="2520" b="1">
                <a:solidFill>
                  <a:schemeClr val="bg1"/>
                </a:solidFill>
              </a:defRPr>
            </a:lvl2pPr>
            <a:lvl3pPr marL="1600229" indent="-320046">
              <a:buClr>
                <a:srgbClr val="FFE500"/>
              </a:buClr>
              <a:buFont typeface="Arial" panose="020B0604020202020204" pitchFamily="34" charset="0"/>
              <a:buChar char="•"/>
              <a:defRPr sz="2520">
                <a:solidFill>
                  <a:schemeClr val="bg1"/>
                </a:solidFill>
              </a:defRPr>
            </a:lvl3pPr>
            <a:lvl4pPr marL="2240320" indent="-320046">
              <a:buClr>
                <a:srgbClr val="FFE500"/>
              </a:buClr>
              <a:buFont typeface="Lucida Grande"/>
              <a:buChar char="▸"/>
              <a:defRPr sz="1960" i="1">
                <a:solidFill>
                  <a:schemeClr val="bg1"/>
                </a:solidFill>
              </a:defRPr>
            </a:lvl4pPr>
            <a:lvl5pPr marL="2880411" indent="-320046">
              <a:buClr>
                <a:srgbClr val="FFE500"/>
              </a:buClr>
              <a:buFont typeface="Wingdings" panose="05000000000000000000" pitchFamily="2" charset="2"/>
              <a:buChar char="§"/>
              <a:defRPr sz="1680">
                <a:solidFill>
                  <a:schemeClr val="bg1"/>
                </a:solidFill>
              </a:defRPr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fr-FR"/>
              <a:t>CLIQUEZ POUR MODIFIER LE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18115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D105E16-D5E1-4D64-AD26-C534546FB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347C-3775-4079-AA1B-58FA31717E2C}" type="datetimeFigureOut">
              <a:rPr lang="fr-FR"/>
              <a:pPr>
                <a:defRPr/>
              </a:pPr>
              <a:t>21/10/2020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3339C858-0B98-4BF3-A6B8-50A17A41E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537F054D-EF34-49E3-BB68-1F0007EC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6B4C0-53F4-4027-BC6F-53D040BDEC7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873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bg>
      <p:bgPr>
        <a:solidFill>
          <a:srgbClr val="2750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ib_Expression9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0"/>
            <a:ext cx="4682063" cy="96012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5661942" y="3842319"/>
            <a:ext cx="5531557" cy="2091122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8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59366676"/>
              </p:ext>
            </p:extLst>
          </p:nvPr>
        </p:nvGraphicFramePr>
        <p:xfrm>
          <a:off x="-1" y="9277382"/>
          <a:ext cx="9245602" cy="336082"/>
        </p:xfrm>
        <a:graphic>
          <a:graphicData uri="http://schemas.openxmlformats.org/drawingml/2006/table">
            <a:tbl>
              <a:tblPr/>
              <a:tblGrid>
                <a:gridCol w="3457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044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33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88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rgbClr val="BFBFBF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2" descr="C:\Users\F299251\Pictures\Nouveau Logo MICHELIN\Michelin_G_S_Fr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1236" y="293291"/>
            <a:ext cx="3101151" cy="2427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73599" y="7899543"/>
            <a:ext cx="2485943" cy="1715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3697433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619" y="-204825"/>
            <a:ext cx="2902585" cy="20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88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161124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5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3944539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619" y="-204825"/>
            <a:ext cx="2902585" cy="20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9961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60513_mains_bibcoeur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ctrTitle" hasCustomPrompt="1"/>
          </p:nvPr>
        </p:nvSpPr>
        <p:spPr>
          <a:xfrm>
            <a:off x="3437463" y="3598645"/>
            <a:ext cx="5760720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chemeClr val="bg1"/>
                </a:solidFill>
                <a:latin typeface="Michelin SemiBold" pitchFamily="50" charset="0"/>
                <a:cs typeface="Arial"/>
              </a:defRPr>
            </a:lvl1pPr>
          </a:lstStyle>
          <a:p>
            <a:r>
              <a:rPr lang="fr-FR"/>
              <a:t>TITRE PRÉSENTATION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6" name="Group 2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5476339"/>
              </p:ext>
            </p:extLst>
          </p:nvPr>
        </p:nvGraphicFramePr>
        <p:xfrm>
          <a:off x="-2" y="9277382"/>
          <a:ext cx="9257864" cy="336082"/>
        </p:xfrm>
        <a:graphic>
          <a:graphicData uri="http://schemas.openxmlformats.org/drawingml/2006/table">
            <a:tbl>
              <a:tblPr/>
              <a:tblGrid>
                <a:gridCol w="32122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1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57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7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10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60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Ref</a:t>
                      </a: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./Document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Auteur/Dép. :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Date de création : 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lassification : D3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20" charset="0"/>
                          <a:ea typeface="Arial" pitchFamily="20" charset="0"/>
                          <a:cs typeface="Arial" pitchFamily="20" charset="0"/>
                          <a:sym typeface="Arial" pitchFamily="20" charset="0"/>
                        </a:rPr>
                        <a:t>Conservation : WA</a:t>
                      </a:r>
                    </a:p>
                  </a:txBody>
                  <a:tcPr marL="128016" marR="128016" marT="64008" marB="64008" anchor="ctr" horzOverflow="overflow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 descr="C:\Users\F299251\Pictures\Images Michelin utiles\Michelin_G_S_NoBL_NoBG_RGB_0618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278" y="7475770"/>
            <a:ext cx="2895807" cy="20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3619" y="-206011"/>
            <a:ext cx="2902585" cy="2003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2892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801600" cy="9601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6847"/>
          </a:p>
        </p:txBody>
      </p:sp>
    </p:spTree>
    <p:extLst>
      <p:ext uri="{BB962C8B-B14F-4D97-AF65-F5344CB8AC3E}">
        <p14:creationId xmlns:p14="http://schemas.microsoft.com/office/powerpoint/2010/main" val="41402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17Bib salut main angl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48"/>
          <a:stretch/>
        </p:blipFill>
        <p:spPr>
          <a:xfrm>
            <a:off x="0" y="0"/>
            <a:ext cx="4322207" cy="96012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383839" y="4171566"/>
            <a:ext cx="8033926" cy="1260080"/>
          </a:xfrm>
          <a:prstGeom prst="rect">
            <a:avLst/>
          </a:prstGeom>
        </p:spPr>
        <p:txBody>
          <a:bodyPr/>
          <a:lstStyle>
            <a:lvl1pPr>
              <a:defRPr sz="4200" b="0" i="0" baseline="0">
                <a:solidFill>
                  <a:srgbClr val="27509B"/>
                </a:solidFill>
                <a:latin typeface="Michelin" pitchFamily="50" charset="0"/>
                <a:cs typeface="Arial"/>
              </a:defRPr>
            </a:lvl1pPr>
          </a:lstStyle>
          <a:p>
            <a:r>
              <a:rPr lang="fr-FR"/>
              <a:t>TITRE CHAP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2340424" y="9277382"/>
            <a:ext cx="461177" cy="336082"/>
          </a:xfrm>
          <a:prstGeom prst="rect">
            <a:avLst/>
          </a:prstGeom>
        </p:spPr>
        <p:txBody>
          <a:bodyPr/>
          <a:lstStyle>
            <a:lvl1pPr>
              <a:defRPr sz="1120">
                <a:solidFill>
                  <a:srgbClr val="27509B"/>
                </a:solidFill>
                <a:latin typeface="Arial"/>
                <a:cs typeface="Arial"/>
              </a:defRPr>
            </a:lvl1pPr>
          </a:lstStyle>
          <a:p>
            <a:fld id="{8373236F-A915-0744-BEC1-6CC85BABB131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31147" y="7525202"/>
            <a:ext cx="2538848" cy="1752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7128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54711276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1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731" r:id="rId8"/>
  </p:sldLayoutIdLst>
  <p:hf hdr="0" ftr="0" dt="0"/>
  <p:txStyles>
    <p:titleStyle>
      <a:lvl1pPr algn="ctr" defTabSz="640091" rtl="0" eaLnBrk="1" latinLnBrk="0" hangingPunct="1"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058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640091" rtl="0" eaLnBrk="1" latinLnBrk="0" hangingPunct="1"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5299185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732" r:id="rId4"/>
    <p:sldLayoutId id="2147483713" r:id="rId5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17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7" r:id="rId2"/>
    <p:sldLayoutId id="2147483693" r:id="rId3"/>
  </p:sldLayoutIdLst>
  <p:hf hdr="0" ftr="0" dt="0"/>
  <p:txStyles>
    <p:titleStyle>
      <a:lvl1pPr algn="ctr" defTabSz="640091" rtl="0" eaLnBrk="1" latinLnBrk="0" hangingPunct="1"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8353919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52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7399687"/>
              </p:ext>
            </p:ext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8572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084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2225" y="2967"/>
          <a:ext cx="2221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Diapositive think-cell" r:id="rId8" imgW="270" imgH="270" progId="TCLayout.ActiveDocument.1">
                  <p:embed/>
                </p:oleObj>
              </mc:Choice>
              <mc:Fallback>
                <p:oleObj name="Diapositive think-cell" r:id="rId8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25" y="2967"/>
                        <a:ext cx="2221" cy="29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7777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5" r:id="rId4"/>
  </p:sldLayoutIdLst>
  <p:txStyles>
    <p:titleStyle>
      <a:lvl1pPr algn="l" defTabSz="640091" rtl="0" eaLnBrk="1" latinLnBrk="0" hangingPunct="1">
        <a:spcBef>
          <a:spcPct val="0"/>
        </a:spcBef>
        <a:buNone/>
        <a:defRPr sz="2800" b="1" i="1" kern="1200">
          <a:solidFill>
            <a:srgbClr val="27509B"/>
          </a:solidFill>
          <a:latin typeface="Arial"/>
          <a:ea typeface="+mj-ea"/>
          <a:cs typeface="Arial"/>
        </a:defRPr>
      </a:lvl1pPr>
    </p:titleStyle>
    <p:bodyStyle>
      <a:lvl1pPr marL="480069" indent="-480069" algn="l" defTabSz="640091" rtl="0" eaLnBrk="1" latinLnBrk="0" hangingPunct="1">
        <a:spcBef>
          <a:spcPct val="20000"/>
        </a:spcBef>
        <a:buFont typeface="Arial"/>
        <a:buChar char="•"/>
        <a:defRPr sz="4480" kern="1200">
          <a:solidFill>
            <a:schemeClr val="tx1"/>
          </a:solidFill>
          <a:latin typeface="Arial"/>
          <a:ea typeface="+mn-ea"/>
          <a:cs typeface="Arial"/>
        </a:defRPr>
      </a:lvl1pPr>
      <a:lvl2pPr marL="1040150" indent="-400058" algn="l" defTabSz="640091" rtl="0" eaLnBrk="1" latinLnBrk="0" hangingPunct="1">
        <a:spcBef>
          <a:spcPct val="20000"/>
        </a:spcBef>
        <a:buFont typeface="Arial"/>
        <a:buChar char="–"/>
        <a:defRPr sz="3920" kern="1200">
          <a:solidFill>
            <a:schemeClr val="tx1"/>
          </a:solidFill>
          <a:latin typeface="Arial"/>
          <a:ea typeface="+mn-ea"/>
          <a:cs typeface="Arial"/>
        </a:defRPr>
      </a:lvl2pPr>
      <a:lvl3pPr marL="1600229" indent="-320046" algn="l" defTabSz="640091" rtl="0" eaLnBrk="1" latinLnBrk="0" hangingPunct="1">
        <a:spcBef>
          <a:spcPct val="20000"/>
        </a:spcBef>
        <a:buFont typeface="Arial"/>
        <a:buChar char="•"/>
        <a:defRPr sz="3360" kern="1200">
          <a:solidFill>
            <a:schemeClr val="tx1"/>
          </a:solidFill>
          <a:latin typeface="Arial"/>
          <a:ea typeface="+mn-ea"/>
          <a:cs typeface="Arial"/>
        </a:defRPr>
      </a:lvl3pPr>
      <a:lvl4pPr marL="2240320" indent="-320046" algn="l" defTabSz="640091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4pPr>
      <a:lvl5pPr marL="2880411" indent="-320046" algn="l" defTabSz="640091" rtl="0" eaLnBrk="1" latinLnBrk="0" hangingPunct="1">
        <a:spcBef>
          <a:spcPct val="20000"/>
        </a:spcBef>
        <a:buFont typeface="Arial"/>
        <a:buChar char="»"/>
        <a:defRPr sz="2800" kern="1200">
          <a:solidFill>
            <a:schemeClr val="tx1"/>
          </a:solidFill>
          <a:latin typeface="Arial"/>
          <a:ea typeface="+mn-ea"/>
          <a:cs typeface="Arial"/>
        </a:defRPr>
      </a:lvl5pPr>
      <a:lvl6pPr marL="3520503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94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86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77" indent="-320046" algn="l" defTabSz="640091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3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4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66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57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49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40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31" algn="l" defTabSz="640091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13" Type="http://schemas.openxmlformats.org/officeDocument/2006/relationships/image" Target="../media/image37.png"/><Relationship Id="rId18" Type="http://schemas.openxmlformats.org/officeDocument/2006/relationships/image" Target="../media/image25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0.sv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5" Type="http://schemas.openxmlformats.org/officeDocument/2006/relationships/image" Target="../media/image22.svg"/><Relationship Id="rId10" Type="http://schemas.openxmlformats.org/officeDocument/2006/relationships/image" Target="../media/image34.png"/><Relationship Id="rId19" Type="http://schemas.openxmlformats.org/officeDocument/2006/relationships/image" Target="../media/image24.png"/><Relationship Id="rId4" Type="http://schemas.openxmlformats.org/officeDocument/2006/relationships/image" Target="../media/image28.svg"/><Relationship Id="rId9" Type="http://schemas.openxmlformats.org/officeDocument/2006/relationships/image" Target="../media/image33.png"/><Relationship Id="rId1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que 1">
            <a:extLst>
              <a:ext uri="{FF2B5EF4-FFF2-40B4-BE49-F238E27FC236}">
                <a16:creationId xmlns:a16="http://schemas.microsoft.com/office/drawing/2014/main" id="{F804C9D0-2DF0-4E11-9F4B-B1910E29C9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0161" y="-87958"/>
            <a:ext cx="12847320" cy="840105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1A45B33B-766C-4305-B2BA-EFCF0D740273}"/>
              </a:ext>
            </a:extLst>
          </p:cNvPr>
          <p:cNvSpPr txBox="1"/>
          <p:nvPr/>
        </p:nvSpPr>
        <p:spPr>
          <a:xfrm>
            <a:off x="863944" y="70479"/>
            <a:ext cx="45631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b="1" dirty="0">
                <a:solidFill>
                  <a:schemeClr val="tx2"/>
                </a:solidFill>
                <a:latin typeface="Gotham Rounded Bold" pitchFamily="50" charset="0"/>
              </a:rPr>
              <a:t>FITNESS FUNCTION</a:t>
            </a:r>
          </a:p>
        </p:txBody>
      </p:sp>
      <p:grpSp>
        <p:nvGrpSpPr>
          <p:cNvPr id="80" name="Groupe 79">
            <a:extLst>
              <a:ext uri="{FF2B5EF4-FFF2-40B4-BE49-F238E27FC236}">
                <a16:creationId xmlns:a16="http://schemas.microsoft.com/office/drawing/2014/main" id="{9290CDDE-9C4F-4CE6-8406-F91F1C98FDAA}"/>
              </a:ext>
            </a:extLst>
          </p:cNvPr>
          <p:cNvGrpSpPr/>
          <p:nvPr/>
        </p:nvGrpSpPr>
        <p:grpSpPr>
          <a:xfrm>
            <a:off x="67644" y="40803"/>
            <a:ext cx="728554" cy="714308"/>
            <a:chOff x="7172725" y="123771"/>
            <a:chExt cx="1073393" cy="1090375"/>
          </a:xfrm>
        </p:grpSpPr>
        <p:sp>
          <p:nvSpPr>
            <p:cNvPr id="81" name="Ellipse 80">
              <a:extLst>
                <a:ext uri="{FF2B5EF4-FFF2-40B4-BE49-F238E27FC236}">
                  <a16:creationId xmlns:a16="http://schemas.microsoft.com/office/drawing/2014/main" id="{305D4A87-BB48-4F8D-8A1F-1A8FAD4D2FF6}"/>
                </a:ext>
              </a:extLst>
            </p:cNvPr>
            <p:cNvSpPr/>
            <p:nvPr/>
          </p:nvSpPr>
          <p:spPr>
            <a:xfrm>
              <a:off x="7231385" y="123771"/>
              <a:ext cx="921391" cy="921391"/>
            </a:xfrm>
            <a:prstGeom prst="ellipse">
              <a:avLst/>
            </a:prstGeom>
            <a:solidFill>
              <a:srgbClr val="00CC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272">
                <a:latin typeface="Gotham Rounded Bold" pitchFamily="50" charset="0"/>
              </a:endParaRPr>
            </a:p>
          </p:txBody>
        </p:sp>
        <p:pic>
          <p:nvPicPr>
            <p:cNvPr id="82" name="Image 81">
              <a:extLst>
                <a:ext uri="{FF2B5EF4-FFF2-40B4-BE49-F238E27FC236}">
                  <a16:creationId xmlns:a16="http://schemas.microsoft.com/office/drawing/2014/main" id="{9C80FF7F-71BA-4689-84ED-8A51B84EA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72725" y="140753"/>
              <a:ext cx="1073393" cy="1073393"/>
            </a:xfrm>
            <a:prstGeom prst="rect">
              <a:avLst/>
            </a:prstGeom>
          </p:spPr>
        </p:pic>
      </p:grpSp>
      <p:grpSp>
        <p:nvGrpSpPr>
          <p:cNvPr id="3" name="Groupe 2">
            <a:extLst>
              <a:ext uri="{FF2B5EF4-FFF2-40B4-BE49-F238E27FC236}">
                <a16:creationId xmlns:a16="http://schemas.microsoft.com/office/drawing/2014/main" id="{0FC2BBF6-4EF1-475B-9E03-9D9E889DFAB9}"/>
              </a:ext>
            </a:extLst>
          </p:cNvPr>
          <p:cNvGrpSpPr/>
          <p:nvPr/>
        </p:nvGrpSpPr>
        <p:grpSpPr>
          <a:xfrm>
            <a:off x="151856" y="1107929"/>
            <a:ext cx="11970870" cy="7655069"/>
            <a:chOff x="-2327090" y="411192"/>
            <a:chExt cx="9146028" cy="4570791"/>
          </a:xfrm>
        </p:grpSpPr>
        <p:sp>
          <p:nvSpPr>
            <p:cNvPr id="385" name="Rectangle 2">
              <a:extLst>
                <a:ext uri="{FF2B5EF4-FFF2-40B4-BE49-F238E27FC236}">
                  <a16:creationId xmlns:a16="http://schemas.microsoft.com/office/drawing/2014/main" id="{5050A53B-B07B-4E5D-9E7C-43B551E98B63}"/>
                </a:ext>
              </a:extLst>
            </p:cNvPr>
            <p:cNvSpPr/>
            <p:nvPr/>
          </p:nvSpPr>
          <p:spPr>
            <a:xfrm rot="10800000">
              <a:off x="-2327090" y="411192"/>
              <a:ext cx="9146028" cy="4570791"/>
            </a:xfrm>
            <a:prstGeom prst="roundRect">
              <a:avLst>
                <a:gd name="adj" fmla="val 5311"/>
              </a:avLst>
            </a:prstGeom>
            <a:solidFill>
              <a:schemeClr val="bg2">
                <a:lumMod val="9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398" name="Rectangle 12">
              <a:extLst>
                <a:ext uri="{FF2B5EF4-FFF2-40B4-BE49-F238E27FC236}">
                  <a16:creationId xmlns:a16="http://schemas.microsoft.com/office/drawing/2014/main" id="{297AA973-A6CC-4681-A213-C162C1BCB5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4031" y="3100349"/>
              <a:ext cx="3948919" cy="4431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1120"/>
            </a:p>
          </p:txBody>
        </p:sp>
        <p:sp>
          <p:nvSpPr>
            <p:cNvPr id="399" name="Rectangle 13">
              <a:extLst>
                <a:ext uri="{FF2B5EF4-FFF2-40B4-BE49-F238E27FC236}">
                  <a16:creationId xmlns:a16="http://schemas.microsoft.com/office/drawing/2014/main" id="{ACFE1D1F-45B1-4AE9-8D7F-9C55C68B13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4031" y="2657242"/>
              <a:ext cx="3948919" cy="44310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1120"/>
            </a:p>
          </p:txBody>
        </p:sp>
        <p:sp>
          <p:nvSpPr>
            <p:cNvPr id="400" name="Rectangle 14">
              <a:extLst>
                <a:ext uri="{FF2B5EF4-FFF2-40B4-BE49-F238E27FC236}">
                  <a16:creationId xmlns:a16="http://schemas.microsoft.com/office/drawing/2014/main" id="{A2E42E30-9A08-45AA-A5FE-7CEACB137F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4031" y="2214134"/>
              <a:ext cx="3948919" cy="44310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1120"/>
            </a:p>
          </p:txBody>
        </p:sp>
        <p:sp>
          <p:nvSpPr>
            <p:cNvPr id="401" name="Rectangle 15">
              <a:extLst>
                <a:ext uri="{FF2B5EF4-FFF2-40B4-BE49-F238E27FC236}">
                  <a16:creationId xmlns:a16="http://schemas.microsoft.com/office/drawing/2014/main" id="{B0E34F6E-B640-4875-9E71-E37CCE9AA9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4031" y="1771028"/>
              <a:ext cx="3948919" cy="44310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1120" dirty="0"/>
            </a:p>
          </p:txBody>
        </p:sp>
        <p:sp>
          <p:nvSpPr>
            <p:cNvPr id="402" name="Rectangle 16">
              <a:extLst>
                <a:ext uri="{FF2B5EF4-FFF2-40B4-BE49-F238E27FC236}">
                  <a16:creationId xmlns:a16="http://schemas.microsoft.com/office/drawing/2014/main" id="{C071ECB7-285E-4141-A027-2109688E4B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4031" y="1327921"/>
              <a:ext cx="3948919" cy="44310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1120"/>
            </a:p>
          </p:txBody>
        </p:sp>
        <p:grpSp>
          <p:nvGrpSpPr>
            <p:cNvPr id="403" name="Group 4">
              <a:extLst>
                <a:ext uri="{FF2B5EF4-FFF2-40B4-BE49-F238E27FC236}">
                  <a16:creationId xmlns:a16="http://schemas.microsoft.com/office/drawing/2014/main" id="{FB57A2BA-F884-4232-A63E-32703AB3769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834176" y="528257"/>
              <a:ext cx="1555583" cy="3633692"/>
              <a:chOff x="6041" y="589"/>
              <a:chExt cx="1403" cy="3458"/>
            </a:xfrm>
          </p:grpSpPr>
          <p:sp>
            <p:nvSpPr>
              <p:cNvPr id="404" name="Rectangle 5">
                <a:extLst>
                  <a:ext uri="{FF2B5EF4-FFF2-40B4-BE49-F238E27FC236}">
                    <a16:creationId xmlns:a16="http://schemas.microsoft.com/office/drawing/2014/main" id="{10B2FBEC-199E-47C0-8FB8-56B63EB173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32" y="928"/>
                <a:ext cx="211" cy="29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05" name="Rectangle 6">
                <a:extLst>
                  <a:ext uri="{FF2B5EF4-FFF2-40B4-BE49-F238E27FC236}">
                    <a16:creationId xmlns:a16="http://schemas.microsoft.com/office/drawing/2014/main" id="{00F93AD5-608B-494C-9803-8F01963AC7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43" y="928"/>
                <a:ext cx="211" cy="29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06" name="Rectangle 7">
                <a:extLst>
                  <a:ext uri="{FF2B5EF4-FFF2-40B4-BE49-F238E27FC236}">
                    <a16:creationId xmlns:a16="http://schemas.microsoft.com/office/drawing/2014/main" id="{73F6551E-61C4-49DD-9E2A-2542D4C2AC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40" y="962"/>
                <a:ext cx="402" cy="11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07" name="Rectangle 8">
                <a:extLst>
                  <a:ext uri="{FF2B5EF4-FFF2-40B4-BE49-F238E27FC236}">
                    <a16:creationId xmlns:a16="http://schemas.microsoft.com/office/drawing/2014/main" id="{3B0291E4-6D24-4F12-941D-C49193B4E7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96" y="1189"/>
                <a:ext cx="494" cy="37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08" name="Rectangle 9">
                <a:extLst>
                  <a:ext uri="{FF2B5EF4-FFF2-40B4-BE49-F238E27FC236}">
                    <a16:creationId xmlns:a16="http://schemas.microsoft.com/office/drawing/2014/main" id="{69D43EF8-1476-4A3E-861C-5BE826A514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96" y="1334"/>
                <a:ext cx="494" cy="16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65000"/>
                    </a:schemeClr>
                  </a:gs>
                  <a:gs pos="70000">
                    <a:schemeClr val="tx1">
                      <a:lumMod val="75000"/>
                      <a:lumOff val="25000"/>
                    </a:schemeClr>
                  </a:gs>
                  <a:gs pos="30000">
                    <a:schemeClr val="tx1">
                      <a:lumMod val="65000"/>
                      <a:lumOff val="35000"/>
                    </a:schemeClr>
                  </a:gs>
                  <a:gs pos="15000">
                    <a:schemeClr val="bg1">
                      <a:lumMod val="65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09" name="Freeform 10">
                <a:extLst>
                  <a:ext uri="{FF2B5EF4-FFF2-40B4-BE49-F238E27FC236}">
                    <a16:creationId xmlns:a16="http://schemas.microsoft.com/office/drawing/2014/main" id="{66AB8322-AB9E-408C-99B8-346BB522D1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96" y="1097"/>
                <a:ext cx="494" cy="129"/>
              </a:xfrm>
              <a:custGeom>
                <a:avLst/>
                <a:gdLst>
                  <a:gd name="T0" fmla="*/ 494 w 494"/>
                  <a:gd name="T1" fmla="*/ 50 h 129"/>
                  <a:gd name="T2" fmla="*/ 0 w 494"/>
                  <a:gd name="T3" fmla="*/ 0 h 129"/>
                  <a:gd name="T4" fmla="*/ 494 w 494"/>
                  <a:gd name="T5" fmla="*/ 129 h 129"/>
                  <a:gd name="T6" fmla="*/ 494 w 494"/>
                  <a:gd name="T7" fmla="*/ 62 h 129"/>
                  <a:gd name="T8" fmla="*/ 482 w 494"/>
                  <a:gd name="T9" fmla="*/ 50 h 129"/>
                  <a:gd name="T10" fmla="*/ 432 w 494"/>
                  <a:gd name="T11" fmla="*/ 12 h 129"/>
                  <a:gd name="T12" fmla="*/ 482 w 494"/>
                  <a:gd name="T13" fmla="*/ 50 h 129"/>
                  <a:gd name="T14" fmla="*/ 217 w 494"/>
                  <a:gd name="T15" fmla="*/ 50 h 129"/>
                  <a:gd name="T16" fmla="*/ 277 w 494"/>
                  <a:gd name="T17" fmla="*/ 12 h 129"/>
                  <a:gd name="T18" fmla="*/ 289 w 494"/>
                  <a:gd name="T19" fmla="*/ 12 h 129"/>
                  <a:gd name="T20" fmla="*/ 349 w 494"/>
                  <a:gd name="T21" fmla="*/ 50 h 129"/>
                  <a:gd name="T22" fmla="*/ 289 w 494"/>
                  <a:gd name="T23" fmla="*/ 12 h 129"/>
                  <a:gd name="T24" fmla="*/ 145 w 494"/>
                  <a:gd name="T25" fmla="*/ 50 h 129"/>
                  <a:gd name="T26" fmla="*/ 205 w 494"/>
                  <a:gd name="T27" fmla="*/ 12 h 129"/>
                  <a:gd name="T28" fmla="*/ 134 w 494"/>
                  <a:gd name="T29" fmla="*/ 50 h 129"/>
                  <a:gd name="T30" fmla="*/ 74 w 494"/>
                  <a:gd name="T31" fmla="*/ 12 h 129"/>
                  <a:gd name="T32" fmla="*/ 134 w 494"/>
                  <a:gd name="T33" fmla="*/ 50 h 129"/>
                  <a:gd name="T34" fmla="*/ 134 w 494"/>
                  <a:gd name="T35" fmla="*/ 117 h 129"/>
                  <a:gd name="T36" fmla="*/ 74 w 494"/>
                  <a:gd name="T37" fmla="*/ 62 h 129"/>
                  <a:gd name="T38" fmla="*/ 145 w 494"/>
                  <a:gd name="T39" fmla="*/ 62 h 129"/>
                  <a:gd name="T40" fmla="*/ 205 w 494"/>
                  <a:gd name="T41" fmla="*/ 117 h 129"/>
                  <a:gd name="T42" fmla="*/ 145 w 494"/>
                  <a:gd name="T43" fmla="*/ 62 h 129"/>
                  <a:gd name="T44" fmla="*/ 277 w 494"/>
                  <a:gd name="T45" fmla="*/ 62 h 129"/>
                  <a:gd name="T46" fmla="*/ 217 w 494"/>
                  <a:gd name="T47" fmla="*/ 117 h 129"/>
                  <a:gd name="T48" fmla="*/ 289 w 494"/>
                  <a:gd name="T49" fmla="*/ 62 h 129"/>
                  <a:gd name="T50" fmla="*/ 349 w 494"/>
                  <a:gd name="T51" fmla="*/ 117 h 129"/>
                  <a:gd name="T52" fmla="*/ 289 w 494"/>
                  <a:gd name="T53" fmla="*/ 62 h 129"/>
                  <a:gd name="T54" fmla="*/ 420 w 494"/>
                  <a:gd name="T55" fmla="*/ 62 h 129"/>
                  <a:gd name="T56" fmla="*/ 361 w 494"/>
                  <a:gd name="T57" fmla="*/ 117 h 129"/>
                  <a:gd name="T58" fmla="*/ 361 w 494"/>
                  <a:gd name="T59" fmla="*/ 50 h 129"/>
                  <a:gd name="T60" fmla="*/ 420 w 494"/>
                  <a:gd name="T61" fmla="*/ 12 h 129"/>
                  <a:gd name="T62" fmla="*/ 361 w 494"/>
                  <a:gd name="T63" fmla="*/ 50 h 129"/>
                  <a:gd name="T64" fmla="*/ 62 w 494"/>
                  <a:gd name="T65" fmla="*/ 50 h 129"/>
                  <a:gd name="T66" fmla="*/ 12 w 494"/>
                  <a:gd name="T67" fmla="*/ 12 h 129"/>
                  <a:gd name="T68" fmla="*/ 12 w 494"/>
                  <a:gd name="T69" fmla="*/ 62 h 129"/>
                  <a:gd name="T70" fmla="*/ 62 w 494"/>
                  <a:gd name="T71" fmla="*/ 117 h 129"/>
                  <a:gd name="T72" fmla="*/ 12 w 494"/>
                  <a:gd name="T73" fmla="*/ 62 h 129"/>
                  <a:gd name="T74" fmla="*/ 432 w 494"/>
                  <a:gd name="T75" fmla="*/ 117 h 129"/>
                  <a:gd name="T76" fmla="*/ 482 w 494"/>
                  <a:gd name="T77" fmla="*/ 62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94" h="129">
                    <a:moveTo>
                      <a:pt x="494" y="50"/>
                    </a:moveTo>
                    <a:lnTo>
                      <a:pt x="494" y="50"/>
                    </a:lnTo>
                    <a:lnTo>
                      <a:pt x="494" y="0"/>
                    </a:lnTo>
                    <a:lnTo>
                      <a:pt x="0" y="0"/>
                    </a:lnTo>
                    <a:lnTo>
                      <a:pt x="0" y="129"/>
                    </a:lnTo>
                    <a:lnTo>
                      <a:pt x="494" y="129"/>
                    </a:lnTo>
                    <a:lnTo>
                      <a:pt x="494" y="62"/>
                    </a:lnTo>
                    <a:lnTo>
                      <a:pt x="494" y="62"/>
                    </a:lnTo>
                    <a:lnTo>
                      <a:pt x="494" y="50"/>
                    </a:lnTo>
                    <a:close/>
                    <a:moveTo>
                      <a:pt x="482" y="50"/>
                    </a:moveTo>
                    <a:lnTo>
                      <a:pt x="432" y="50"/>
                    </a:lnTo>
                    <a:lnTo>
                      <a:pt x="432" y="12"/>
                    </a:lnTo>
                    <a:lnTo>
                      <a:pt x="482" y="12"/>
                    </a:lnTo>
                    <a:lnTo>
                      <a:pt x="482" y="50"/>
                    </a:lnTo>
                    <a:close/>
                    <a:moveTo>
                      <a:pt x="277" y="50"/>
                    </a:moveTo>
                    <a:lnTo>
                      <a:pt x="217" y="50"/>
                    </a:lnTo>
                    <a:lnTo>
                      <a:pt x="217" y="12"/>
                    </a:lnTo>
                    <a:lnTo>
                      <a:pt x="277" y="12"/>
                    </a:lnTo>
                    <a:lnTo>
                      <a:pt x="277" y="50"/>
                    </a:lnTo>
                    <a:close/>
                    <a:moveTo>
                      <a:pt x="289" y="12"/>
                    </a:moveTo>
                    <a:lnTo>
                      <a:pt x="349" y="12"/>
                    </a:lnTo>
                    <a:lnTo>
                      <a:pt x="349" y="50"/>
                    </a:lnTo>
                    <a:lnTo>
                      <a:pt x="289" y="50"/>
                    </a:lnTo>
                    <a:lnTo>
                      <a:pt x="289" y="12"/>
                    </a:lnTo>
                    <a:close/>
                    <a:moveTo>
                      <a:pt x="205" y="50"/>
                    </a:moveTo>
                    <a:lnTo>
                      <a:pt x="145" y="50"/>
                    </a:lnTo>
                    <a:lnTo>
                      <a:pt x="145" y="12"/>
                    </a:lnTo>
                    <a:lnTo>
                      <a:pt x="205" y="12"/>
                    </a:lnTo>
                    <a:lnTo>
                      <a:pt x="205" y="50"/>
                    </a:lnTo>
                    <a:close/>
                    <a:moveTo>
                      <a:pt x="134" y="50"/>
                    </a:moveTo>
                    <a:lnTo>
                      <a:pt x="74" y="50"/>
                    </a:lnTo>
                    <a:lnTo>
                      <a:pt x="74" y="12"/>
                    </a:lnTo>
                    <a:lnTo>
                      <a:pt x="134" y="12"/>
                    </a:lnTo>
                    <a:lnTo>
                      <a:pt x="134" y="50"/>
                    </a:lnTo>
                    <a:close/>
                    <a:moveTo>
                      <a:pt x="134" y="62"/>
                    </a:moveTo>
                    <a:lnTo>
                      <a:pt x="134" y="117"/>
                    </a:lnTo>
                    <a:lnTo>
                      <a:pt x="74" y="117"/>
                    </a:lnTo>
                    <a:lnTo>
                      <a:pt x="74" y="62"/>
                    </a:lnTo>
                    <a:lnTo>
                      <a:pt x="134" y="62"/>
                    </a:lnTo>
                    <a:close/>
                    <a:moveTo>
                      <a:pt x="145" y="62"/>
                    </a:moveTo>
                    <a:lnTo>
                      <a:pt x="205" y="62"/>
                    </a:lnTo>
                    <a:lnTo>
                      <a:pt x="205" y="117"/>
                    </a:lnTo>
                    <a:lnTo>
                      <a:pt x="145" y="117"/>
                    </a:lnTo>
                    <a:lnTo>
                      <a:pt x="145" y="62"/>
                    </a:lnTo>
                    <a:close/>
                    <a:moveTo>
                      <a:pt x="217" y="62"/>
                    </a:moveTo>
                    <a:lnTo>
                      <a:pt x="277" y="62"/>
                    </a:lnTo>
                    <a:lnTo>
                      <a:pt x="277" y="117"/>
                    </a:lnTo>
                    <a:lnTo>
                      <a:pt x="217" y="117"/>
                    </a:lnTo>
                    <a:lnTo>
                      <a:pt x="217" y="62"/>
                    </a:lnTo>
                    <a:close/>
                    <a:moveTo>
                      <a:pt x="289" y="62"/>
                    </a:moveTo>
                    <a:lnTo>
                      <a:pt x="349" y="62"/>
                    </a:lnTo>
                    <a:lnTo>
                      <a:pt x="349" y="117"/>
                    </a:lnTo>
                    <a:lnTo>
                      <a:pt x="289" y="117"/>
                    </a:lnTo>
                    <a:lnTo>
                      <a:pt x="289" y="62"/>
                    </a:lnTo>
                    <a:close/>
                    <a:moveTo>
                      <a:pt x="361" y="62"/>
                    </a:moveTo>
                    <a:lnTo>
                      <a:pt x="420" y="62"/>
                    </a:lnTo>
                    <a:lnTo>
                      <a:pt x="420" y="117"/>
                    </a:lnTo>
                    <a:lnTo>
                      <a:pt x="361" y="117"/>
                    </a:lnTo>
                    <a:lnTo>
                      <a:pt x="361" y="62"/>
                    </a:lnTo>
                    <a:close/>
                    <a:moveTo>
                      <a:pt x="361" y="50"/>
                    </a:moveTo>
                    <a:lnTo>
                      <a:pt x="361" y="12"/>
                    </a:lnTo>
                    <a:lnTo>
                      <a:pt x="420" y="12"/>
                    </a:lnTo>
                    <a:lnTo>
                      <a:pt x="420" y="50"/>
                    </a:lnTo>
                    <a:lnTo>
                      <a:pt x="361" y="50"/>
                    </a:lnTo>
                    <a:close/>
                    <a:moveTo>
                      <a:pt x="62" y="12"/>
                    </a:moveTo>
                    <a:lnTo>
                      <a:pt x="62" y="50"/>
                    </a:lnTo>
                    <a:lnTo>
                      <a:pt x="12" y="50"/>
                    </a:lnTo>
                    <a:lnTo>
                      <a:pt x="12" y="12"/>
                    </a:lnTo>
                    <a:lnTo>
                      <a:pt x="62" y="12"/>
                    </a:lnTo>
                    <a:close/>
                    <a:moveTo>
                      <a:pt x="12" y="62"/>
                    </a:moveTo>
                    <a:lnTo>
                      <a:pt x="62" y="62"/>
                    </a:lnTo>
                    <a:lnTo>
                      <a:pt x="62" y="117"/>
                    </a:lnTo>
                    <a:lnTo>
                      <a:pt x="12" y="117"/>
                    </a:lnTo>
                    <a:lnTo>
                      <a:pt x="12" y="62"/>
                    </a:lnTo>
                    <a:close/>
                    <a:moveTo>
                      <a:pt x="482" y="117"/>
                    </a:moveTo>
                    <a:lnTo>
                      <a:pt x="432" y="117"/>
                    </a:lnTo>
                    <a:lnTo>
                      <a:pt x="432" y="62"/>
                    </a:lnTo>
                    <a:lnTo>
                      <a:pt x="482" y="62"/>
                    </a:lnTo>
                    <a:lnTo>
                      <a:pt x="482" y="117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10" name="Freeform 11">
                <a:extLst>
                  <a:ext uri="{FF2B5EF4-FFF2-40B4-BE49-F238E27FC236}">
                    <a16:creationId xmlns:a16="http://schemas.microsoft.com/office/drawing/2014/main" id="{167AAF8F-03F8-46A5-9B45-DAB1965D9D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1226"/>
                <a:ext cx="820" cy="108"/>
              </a:xfrm>
              <a:custGeom>
                <a:avLst/>
                <a:gdLst>
                  <a:gd name="T0" fmla="*/ 820 w 820"/>
                  <a:gd name="T1" fmla="*/ 108 h 108"/>
                  <a:gd name="T2" fmla="*/ 0 w 820"/>
                  <a:gd name="T3" fmla="*/ 108 h 108"/>
                  <a:gd name="T4" fmla="*/ 159 w 820"/>
                  <a:gd name="T5" fmla="*/ 0 h 108"/>
                  <a:gd name="T6" fmla="*/ 661 w 820"/>
                  <a:gd name="T7" fmla="*/ 0 h 108"/>
                  <a:gd name="T8" fmla="*/ 820 w 820"/>
                  <a:gd name="T9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0" h="108">
                    <a:moveTo>
                      <a:pt x="820" y="108"/>
                    </a:moveTo>
                    <a:lnTo>
                      <a:pt x="0" y="108"/>
                    </a:lnTo>
                    <a:lnTo>
                      <a:pt x="159" y="0"/>
                    </a:lnTo>
                    <a:lnTo>
                      <a:pt x="661" y="0"/>
                    </a:lnTo>
                    <a:lnTo>
                      <a:pt x="820" y="108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  <a:gs pos="40000">
                    <a:schemeClr val="tx1">
                      <a:lumMod val="50000"/>
                      <a:lumOff val="50000"/>
                    </a:schemeClr>
                  </a:gs>
                  <a:gs pos="78000">
                    <a:schemeClr val="bg1">
                      <a:lumMod val="95000"/>
                    </a:schemeClr>
                  </a:gs>
                  <a:gs pos="20000">
                    <a:schemeClr val="bg1">
                      <a:lumMod val="65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11" name="Freeform 12">
                <a:extLst>
                  <a:ext uri="{FF2B5EF4-FFF2-40B4-BE49-F238E27FC236}">
                    <a16:creationId xmlns:a16="http://schemas.microsoft.com/office/drawing/2014/main" id="{F2BED678-F4E5-4F16-BDB6-EEE96F8E7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4" y="1226"/>
                <a:ext cx="208" cy="108"/>
              </a:xfrm>
              <a:custGeom>
                <a:avLst/>
                <a:gdLst>
                  <a:gd name="T0" fmla="*/ 0 w 208"/>
                  <a:gd name="T1" fmla="*/ 108 h 108"/>
                  <a:gd name="T2" fmla="*/ 156 w 208"/>
                  <a:gd name="T3" fmla="*/ 108 h 108"/>
                  <a:gd name="T4" fmla="*/ 208 w 208"/>
                  <a:gd name="T5" fmla="*/ 0 h 108"/>
                  <a:gd name="T6" fmla="*/ 103 w 208"/>
                  <a:gd name="T7" fmla="*/ 0 h 108"/>
                  <a:gd name="T8" fmla="*/ 0 w 208"/>
                  <a:gd name="T9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108">
                    <a:moveTo>
                      <a:pt x="0" y="108"/>
                    </a:moveTo>
                    <a:lnTo>
                      <a:pt x="156" y="108"/>
                    </a:lnTo>
                    <a:lnTo>
                      <a:pt x="208" y="0"/>
                    </a:lnTo>
                    <a:lnTo>
                      <a:pt x="103" y="0"/>
                    </a:lnTo>
                    <a:lnTo>
                      <a:pt x="0" y="108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tx1">
                      <a:alpha val="20000"/>
                    </a:schemeClr>
                  </a:gs>
                  <a:gs pos="0">
                    <a:schemeClr val="tx1">
                      <a:alpha val="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12" name="Freeform 13">
                <a:extLst>
                  <a:ext uri="{FF2B5EF4-FFF2-40B4-BE49-F238E27FC236}">
                    <a16:creationId xmlns:a16="http://schemas.microsoft.com/office/drawing/2014/main" id="{56A87998-2EC2-49A1-BB12-41AADD7C72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2" y="950"/>
                <a:ext cx="422" cy="135"/>
              </a:xfrm>
              <a:custGeom>
                <a:avLst/>
                <a:gdLst>
                  <a:gd name="T0" fmla="*/ 422 w 422"/>
                  <a:gd name="T1" fmla="*/ 0 h 135"/>
                  <a:gd name="T2" fmla="*/ 369 w 422"/>
                  <a:gd name="T3" fmla="*/ 0 h 135"/>
                  <a:gd name="T4" fmla="*/ 357 w 422"/>
                  <a:gd name="T5" fmla="*/ 0 h 135"/>
                  <a:gd name="T6" fmla="*/ 268 w 422"/>
                  <a:gd name="T7" fmla="*/ 0 h 135"/>
                  <a:gd name="T8" fmla="*/ 256 w 422"/>
                  <a:gd name="T9" fmla="*/ 0 h 135"/>
                  <a:gd name="T10" fmla="*/ 166 w 422"/>
                  <a:gd name="T11" fmla="*/ 0 h 135"/>
                  <a:gd name="T12" fmla="*/ 154 w 422"/>
                  <a:gd name="T13" fmla="*/ 0 h 135"/>
                  <a:gd name="T14" fmla="*/ 65 w 422"/>
                  <a:gd name="T15" fmla="*/ 0 h 135"/>
                  <a:gd name="T16" fmla="*/ 53 w 422"/>
                  <a:gd name="T17" fmla="*/ 0 h 135"/>
                  <a:gd name="T18" fmla="*/ 0 w 422"/>
                  <a:gd name="T19" fmla="*/ 0 h 135"/>
                  <a:gd name="T20" fmla="*/ 0 w 422"/>
                  <a:gd name="T21" fmla="*/ 135 h 135"/>
                  <a:gd name="T22" fmla="*/ 53 w 422"/>
                  <a:gd name="T23" fmla="*/ 135 h 135"/>
                  <a:gd name="T24" fmla="*/ 53 w 422"/>
                  <a:gd name="T25" fmla="*/ 135 h 135"/>
                  <a:gd name="T26" fmla="*/ 65 w 422"/>
                  <a:gd name="T27" fmla="*/ 135 h 135"/>
                  <a:gd name="T28" fmla="*/ 65 w 422"/>
                  <a:gd name="T29" fmla="*/ 135 h 135"/>
                  <a:gd name="T30" fmla="*/ 154 w 422"/>
                  <a:gd name="T31" fmla="*/ 135 h 135"/>
                  <a:gd name="T32" fmla="*/ 154 w 422"/>
                  <a:gd name="T33" fmla="*/ 135 h 135"/>
                  <a:gd name="T34" fmla="*/ 166 w 422"/>
                  <a:gd name="T35" fmla="*/ 135 h 135"/>
                  <a:gd name="T36" fmla="*/ 166 w 422"/>
                  <a:gd name="T37" fmla="*/ 135 h 135"/>
                  <a:gd name="T38" fmla="*/ 256 w 422"/>
                  <a:gd name="T39" fmla="*/ 135 h 135"/>
                  <a:gd name="T40" fmla="*/ 256 w 422"/>
                  <a:gd name="T41" fmla="*/ 135 h 135"/>
                  <a:gd name="T42" fmla="*/ 268 w 422"/>
                  <a:gd name="T43" fmla="*/ 135 h 135"/>
                  <a:gd name="T44" fmla="*/ 268 w 422"/>
                  <a:gd name="T45" fmla="*/ 135 h 135"/>
                  <a:gd name="T46" fmla="*/ 357 w 422"/>
                  <a:gd name="T47" fmla="*/ 135 h 135"/>
                  <a:gd name="T48" fmla="*/ 357 w 422"/>
                  <a:gd name="T49" fmla="*/ 135 h 135"/>
                  <a:gd name="T50" fmla="*/ 369 w 422"/>
                  <a:gd name="T51" fmla="*/ 135 h 135"/>
                  <a:gd name="T52" fmla="*/ 369 w 422"/>
                  <a:gd name="T53" fmla="*/ 135 h 135"/>
                  <a:gd name="T54" fmla="*/ 422 w 422"/>
                  <a:gd name="T55" fmla="*/ 135 h 135"/>
                  <a:gd name="T56" fmla="*/ 422 w 422"/>
                  <a:gd name="T57" fmla="*/ 0 h 135"/>
                  <a:gd name="T58" fmla="*/ 12 w 422"/>
                  <a:gd name="T59" fmla="*/ 123 h 135"/>
                  <a:gd name="T60" fmla="*/ 12 w 422"/>
                  <a:gd name="T61" fmla="*/ 12 h 135"/>
                  <a:gd name="T62" fmla="*/ 53 w 422"/>
                  <a:gd name="T63" fmla="*/ 12 h 135"/>
                  <a:gd name="T64" fmla="*/ 53 w 422"/>
                  <a:gd name="T65" fmla="*/ 123 h 135"/>
                  <a:gd name="T66" fmla="*/ 12 w 422"/>
                  <a:gd name="T67" fmla="*/ 123 h 135"/>
                  <a:gd name="T68" fmla="*/ 65 w 422"/>
                  <a:gd name="T69" fmla="*/ 123 h 135"/>
                  <a:gd name="T70" fmla="*/ 65 w 422"/>
                  <a:gd name="T71" fmla="*/ 12 h 135"/>
                  <a:gd name="T72" fmla="*/ 154 w 422"/>
                  <a:gd name="T73" fmla="*/ 12 h 135"/>
                  <a:gd name="T74" fmla="*/ 154 w 422"/>
                  <a:gd name="T75" fmla="*/ 123 h 135"/>
                  <a:gd name="T76" fmla="*/ 65 w 422"/>
                  <a:gd name="T77" fmla="*/ 123 h 135"/>
                  <a:gd name="T78" fmla="*/ 166 w 422"/>
                  <a:gd name="T79" fmla="*/ 123 h 135"/>
                  <a:gd name="T80" fmla="*/ 166 w 422"/>
                  <a:gd name="T81" fmla="*/ 12 h 135"/>
                  <a:gd name="T82" fmla="*/ 256 w 422"/>
                  <a:gd name="T83" fmla="*/ 12 h 135"/>
                  <a:gd name="T84" fmla="*/ 256 w 422"/>
                  <a:gd name="T85" fmla="*/ 123 h 135"/>
                  <a:gd name="T86" fmla="*/ 166 w 422"/>
                  <a:gd name="T87" fmla="*/ 123 h 135"/>
                  <a:gd name="T88" fmla="*/ 268 w 422"/>
                  <a:gd name="T89" fmla="*/ 123 h 135"/>
                  <a:gd name="T90" fmla="*/ 268 w 422"/>
                  <a:gd name="T91" fmla="*/ 12 h 135"/>
                  <a:gd name="T92" fmla="*/ 357 w 422"/>
                  <a:gd name="T93" fmla="*/ 12 h 135"/>
                  <a:gd name="T94" fmla="*/ 357 w 422"/>
                  <a:gd name="T95" fmla="*/ 123 h 135"/>
                  <a:gd name="T96" fmla="*/ 268 w 422"/>
                  <a:gd name="T97" fmla="*/ 123 h 135"/>
                  <a:gd name="T98" fmla="*/ 410 w 422"/>
                  <a:gd name="T99" fmla="*/ 123 h 135"/>
                  <a:gd name="T100" fmla="*/ 369 w 422"/>
                  <a:gd name="T101" fmla="*/ 123 h 135"/>
                  <a:gd name="T102" fmla="*/ 369 w 422"/>
                  <a:gd name="T103" fmla="*/ 12 h 135"/>
                  <a:gd name="T104" fmla="*/ 410 w 422"/>
                  <a:gd name="T105" fmla="*/ 12 h 135"/>
                  <a:gd name="T106" fmla="*/ 410 w 422"/>
                  <a:gd name="T107" fmla="*/ 123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2" h="135">
                    <a:moveTo>
                      <a:pt x="422" y="0"/>
                    </a:moveTo>
                    <a:lnTo>
                      <a:pt x="369" y="0"/>
                    </a:lnTo>
                    <a:lnTo>
                      <a:pt x="357" y="0"/>
                    </a:lnTo>
                    <a:lnTo>
                      <a:pt x="268" y="0"/>
                    </a:lnTo>
                    <a:lnTo>
                      <a:pt x="256" y="0"/>
                    </a:lnTo>
                    <a:lnTo>
                      <a:pt x="166" y="0"/>
                    </a:lnTo>
                    <a:lnTo>
                      <a:pt x="154" y="0"/>
                    </a:lnTo>
                    <a:lnTo>
                      <a:pt x="65" y="0"/>
                    </a:lnTo>
                    <a:lnTo>
                      <a:pt x="53" y="0"/>
                    </a:lnTo>
                    <a:lnTo>
                      <a:pt x="0" y="0"/>
                    </a:lnTo>
                    <a:lnTo>
                      <a:pt x="0" y="135"/>
                    </a:lnTo>
                    <a:lnTo>
                      <a:pt x="53" y="135"/>
                    </a:lnTo>
                    <a:lnTo>
                      <a:pt x="53" y="135"/>
                    </a:lnTo>
                    <a:lnTo>
                      <a:pt x="65" y="135"/>
                    </a:lnTo>
                    <a:lnTo>
                      <a:pt x="65" y="135"/>
                    </a:lnTo>
                    <a:lnTo>
                      <a:pt x="154" y="135"/>
                    </a:lnTo>
                    <a:lnTo>
                      <a:pt x="154" y="135"/>
                    </a:lnTo>
                    <a:lnTo>
                      <a:pt x="166" y="135"/>
                    </a:lnTo>
                    <a:lnTo>
                      <a:pt x="166" y="135"/>
                    </a:lnTo>
                    <a:lnTo>
                      <a:pt x="256" y="135"/>
                    </a:lnTo>
                    <a:lnTo>
                      <a:pt x="256" y="135"/>
                    </a:lnTo>
                    <a:lnTo>
                      <a:pt x="268" y="135"/>
                    </a:lnTo>
                    <a:lnTo>
                      <a:pt x="268" y="135"/>
                    </a:lnTo>
                    <a:lnTo>
                      <a:pt x="357" y="135"/>
                    </a:lnTo>
                    <a:lnTo>
                      <a:pt x="357" y="135"/>
                    </a:lnTo>
                    <a:lnTo>
                      <a:pt x="369" y="135"/>
                    </a:lnTo>
                    <a:lnTo>
                      <a:pt x="369" y="135"/>
                    </a:lnTo>
                    <a:lnTo>
                      <a:pt x="422" y="135"/>
                    </a:lnTo>
                    <a:lnTo>
                      <a:pt x="422" y="0"/>
                    </a:lnTo>
                    <a:close/>
                    <a:moveTo>
                      <a:pt x="12" y="123"/>
                    </a:moveTo>
                    <a:lnTo>
                      <a:pt x="12" y="12"/>
                    </a:lnTo>
                    <a:lnTo>
                      <a:pt x="53" y="12"/>
                    </a:lnTo>
                    <a:lnTo>
                      <a:pt x="53" y="123"/>
                    </a:lnTo>
                    <a:lnTo>
                      <a:pt x="12" y="123"/>
                    </a:lnTo>
                    <a:close/>
                    <a:moveTo>
                      <a:pt x="65" y="123"/>
                    </a:moveTo>
                    <a:lnTo>
                      <a:pt x="65" y="12"/>
                    </a:lnTo>
                    <a:lnTo>
                      <a:pt x="154" y="12"/>
                    </a:lnTo>
                    <a:lnTo>
                      <a:pt x="154" y="123"/>
                    </a:lnTo>
                    <a:lnTo>
                      <a:pt x="65" y="123"/>
                    </a:lnTo>
                    <a:close/>
                    <a:moveTo>
                      <a:pt x="166" y="123"/>
                    </a:moveTo>
                    <a:lnTo>
                      <a:pt x="166" y="12"/>
                    </a:lnTo>
                    <a:lnTo>
                      <a:pt x="256" y="12"/>
                    </a:lnTo>
                    <a:lnTo>
                      <a:pt x="256" y="123"/>
                    </a:lnTo>
                    <a:lnTo>
                      <a:pt x="166" y="123"/>
                    </a:lnTo>
                    <a:close/>
                    <a:moveTo>
                      <a:pt x="268" y="123"/>
                    </a:moveTo>
                    <a:lnTo>
                      <a:pt x="268" y="12"/>
                    </a:lnTo>
                    <a:lnTo>
                      <a:pt x="357" y="12"/>
                    </a:lnTo>
                    <a:lnTo>
                      <a:pt x="357" y="123"/>
                    </a:lnTo>
                    <a:lnTo>
                      <a:pt x="268" y="123"/>
                    </a:lnTo>
                    <a:close/>
                    <a:moveTo>
                      <a:pt x="410" y="123"/>
                    </a:moveTo>
                    <a:lnTo>
                      <a:pt x="369" y="123"/>
                    </a:lnTo>
                    <a:lnTo>
                      <a:pt x="369" y="12"/>
                    </a:lnTo>
                    <a:lnTo>
                      <a:pt x="410" y="12"/>
                    </a:lnTo>
                    <a:lnTo>
                      <a:pt x="410" y="123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13" name="Freeform 14">
                <a:extLst>
                  <a:ext uri="{FF2B5EF4-FFF2-40B4-BE49-F238E27FC236}">
                    <a16:creationId xmlns:a16="http://schemas.microsoft.com/office/drawing/2014/main" id="{10692F27-B9B7-44FA-B88A-7BBB9665CB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2" y="890"/>
                <a:ext cx="582" cy="38"/>
              </a:xfrm>
              <a:custGeom>
                <a:avLst/>
                <a:gdLst>
                  <a:gd name="T0" fmla="*/ 291 w 582"/>
                  <a:gd name="T1" fmla="*/ 0 h 38"/>
                  <a:gd name="T2" fmla="*/ 0 w 582"/>
                  <a:gd name="T3" fmla="*/ 0 h 38"/>
                  <a:gd name="T4" fmla="*/ 0 w 582"/>
                  <a:gd name="T5" fmla="*/ 38 h 38"/>
                  <a:gd name="T6" fmla="*/ 291 w 582"/>
                  <a:gd name="T7" fmla="*/ 38 h 38"/>
                  <a:gd name="T8" fmla="*/ 582 w 582"/>
                  <a:gd name="T9" fmla="*/ 38 h 38"/>
                  <a:gd name="T10" fmla="*/ 582 w 582"/>
                  <a:gd name="T11" fmla="*/ 0 h 38"/>
                  <a:gd name="T12" fmla="*/ 291 w 582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2" h="38">
                    <a:moveTo>
                      <a:pt x="291" y="0"/>
                    </a:moveTo>
                    <a:lnTo>
                      <a:pt x="0" y="0"/>
                    </a:lnTo>
                    <a:lnTo>
                      <a:pt x="0" y="38"/>
                    </a:lnTo>
                    <a:lnTo>
                      <a:pt x="291" y="38"/>
                    </a:lnTo>
                    <a:lnTo>
                      <a:pt x="582" y="38"/>
                    </a:lnTo>
                    <a:lnTo>
                      <a:pt x="582" y="0"/>
                    </a:lnTo>
                    <a:lnTo>
                      <a:pt x="291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65000"/>
                    </a:schemeClr>
                  </a:gs>
                  <a:gs pos="70000">
                    <a:schemeClr val="tx1">
                      <a:lumMod val="75000"/>
                      <a:lumOff val="25000"/>
                    </a:schemeClr>
                  </a:gs>
                  <a:gs pos="30000">
                    <a:schemeClr val="tx1">
                      <a:lumMod val="65000"/>
                      <a:lumOff val="35000"/>
                    </a:schemeClr>
                  </a:gs>
                  <a:gs pos="15000">
                    <a:schemeClr val="bg1">
                      <a:lumMod val="65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14" name="Freeform 15">
                <a:extLst>
                  <a:ext uri="{FF2B5EF4-FFF2-40B4-BE49-F238E27FC236}">
                    <a16:creationId xmlns:a16="http://schemas.microsoft.com/office/drawing/2014/main" id="{0CC31A3B-C133-4E14-A8BB-97911D7C4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2" y="775"/>
                <a:ext cx="582" cy="115"/>
              </a:xfrm>
              <a:custGeom>
                <a:avLst/>
                <a:gdLst>
                  <a:gd name="T0" fmla="*/ 415 w 584"/>
                  <a:gd name="T1" fmla="*/ 0 h 116"/>
                  <a:gd name="T2" fmla="*/ 292 w 584"/>
                  <a:gd name="T3" fmla="*/ 0 h 116"/>
                  <a:gd name="T4" fmla="*/ 168 w 584"/>
                  <a:gd name="T5" fmla="*/ 0 h 116"/>
                  <a:gd name="T6" fmla="*/ 0 w 584"/>
                  <a:gd name="T7" fmla="*/ 116 h 116"/>
                  <a:gd name="T8" fmla="*/ 292 w 584"/>
                  <a:gd name="T9" fmla="*/ 116 h 116"/>
                  <a:gd name="T10" fmla="*/ 584 w 584"/>
                  <a:gd name="T11" fmla="*/ 116 h 116"/>
                  <a:gd name="T12" fmla="*/ 415 w 584"/>
                  <a:gd name="T13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4" h="116">
                    <a:moveTo>
                      <a:pt x="415" y="0"/>
                    </a:moveTo>
                    <a:cubicBezTo>
                      <a:pt x="381" y="0"/>
                      <a:pt x="316" y="0"/>
                      <a:pt x="292" y="0"/>
                    </a:cubicBezTo>
                    <a:cubicBezTo>
                      <a:pt x="267" y="0"/>
                      <a:pt x="202" y="0"/>
                      <a:pt x="168" y="0"/>
                    </a:cubicBezTo>
                    <a:cubicBezTo>
                      <a:pt x="83" y="0"/>
                      <a:pt x="0" y="116"/>
                      <a:pt x="0" y="116"/>
                    </a:cubicBezTo>
                    <a:cubicBezTo>
                      <a:pt x="292" y="116"/>
                      <a:pt x="292" y="116"/>
                      <a:pt x="292" y="116"/>
                    </a:cubicBezTo>
                    <a:cubicBezTo>
                      <a:pt x="584" y="116"/>
                      <a:pt x="584" y="116"/>
                      <a:pt x="584" y="116"/>
                    </a:cubicBezTo>
                    <a:cubicBezTo>
                      <a:pt x="584" y="116"/>
                      <a:pt x="500" y="0"/>
                      <a:pt x="415" y="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  <a:gs pos="69000">
                    <a:schemeClr val="bg1">
                      <a:lumMod val="95000"/>
                    </a:schemeClr>
                  </a:gs>
                  <a:gs pos="20000">
                    <a:schemeClr val="bg1">
                      <a:lumMod val="65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15" name="Freeform 16">
                <a:extLst>
                  <a:ext uri="{FF2B5EF4-FFF2-40B4-BE49-F238E27FC236}">
                    <a16:creationId xmlns:a16="http://schemas.microsoft.com/office/drawing/2014/main" id="{C849400F-8A99-4983-AC73-0CBD1B5DF7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8" y="775"/>
                <a:ext cx="219" cy="115"/>
              </a:xfrm>
              <a:custGeom>
                <a:avLst/>
                <a:gdLst>
                  <a:gd name="T0" fmla="*/ 220 w 220"/>
                  <a:gd name="T1" fmla="*/ 0 h 116"/>
                  <a:gd name="T2" fmla="*/ 146 w 220"/>
                  <a:gd name="T3" fmla="*/ 0 h 116"/>
                  <a:gd name="T4" fmla="*/ 0 w 220"/>
                  <a:gd name="T5" fmla="*/ 116 h 116"/>
                  <a:gd name="T6" fmla="*/ 158 w 220"/>
                  <a:gd name="T7" fmla="*/ 116 h 116"/>
                  <a:gd name="T8" fmla="*/ 220 w 220"/>
                  <a:gd name="T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116">
                    <a:moveTo>
                      <a:pt x="220" y="0"/>
                    </a:moveTo>
                    <a:cubicBezTo>
                      <a:pt x="196" y="0"/>
                      <a:pt x="165" y="0"/>
                      <a:pt x="146" y="0"/>
                    </a:cubicBezTo>
                    <a:cubicBezTo>
                      <a:pt x="72" y="0"/>
                      <a:pt x="0" y="116"/>
                      <a:pt x="0" y="116"/>
                    </a:cubicBezTo>
                    <a:cubicBezTo>
                      <a:pt x="158" y="116"/>
                      <a:pt x="158" y="116"/>
                      <a:pt x="158" y="116"/>
                    </a:cubicBezTo>
                    <a:cubicBezTo>
                      <a:pt x="158" y="116"/>
                      <a:pt x="189" y="0"/>
                      <a:pt x="220" y="0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tx1">
                      <a:alpha val="20000"/>
                    </a:schemeClr>
                  </a:gs>
                  <a:gs pos="0">
                    <a:schemeClr val="tx1">
                      <a:alpha val="0"/>
                    </a:schemeClr>
                  </a:gs>
                </a:gsLst>
                <a:lin ang="162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16" name="Oval 17">
                <a:extLst>
                  <a:ext uri="{FF2B5EF4-FFF2-40B4-BE49-F238E27FC236}">
                    <a16:creationId xmlns:a16="http://schemas.microsoft.com/office/drawing/2014/main" id="{0038C12E-140B-40F0-B6B7-261974CBCB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99" y="589"/>
                <a:ext cx="88" cy="89"/>
              </a:xfrm>
              <a:prstGeom prst="ellipse">
                <a:avLst/>
              </a:prstGeom>
              <a:gradFill>
                <a:gsLst>
                  <a:gs pos="0">
                    <a:schemeClr val="bg1">
                      <a:lumMod val="65000"/>
                    </a:schemeClr>
                  </a:gs>
                  <a:gs pos="74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17" name="Freeform 18">
                <a:extLst>
                  <a:ext uri="{FF2B5EF4-FFF2-40B4-BE49-F238E27FC236}">
                    <a16:creationId xmlns:a16="http://schemas.microsoft.com/office/drawing/2014/main" id="{E1562C89-1C9F-4DD5-B3C8-E79261AA47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0" y="661"/>
                <a:ext cx="125" cy="114"/>
              </a:xfrm>
              <a:custGeom>
                <a:avLst/>
                <a:gdLst>
                  <a:gd name="T0" fmla="*/ 25 w 125"/>
                  <a:gd name="T1" fmla="*/ 53 h 115"/>
                  <a:gd name="T2" fmla="*/ 0 w 125"/>
                  <a:gd name="T3" fmla="*/ 115 h 115"/>
                  <a:gd name="T4" fmla="*/ 63 w 125"/>
                  <a:gd name="T5" fmla="*/ 115 h 115"/>
                  <a:gd name="T6" fmla="*/ 125 w 125"/>
                  <a:gd name="T7" fmla="*/ 115 h 115"/>
                  <a:gd name="T8" fmla="*/ 101 w 125"/>
                  <a:gd name="T9" fmla="*/ 53 h 115"/>
                  <a:gd name="T10" fmla="*/ 101 w 125"/>
                  <a:gd name="T11" fmla="*/ 0 h 115"/>
                  <a:gd name="T12" fmla="*/ 25 w 125"/>
                  <a:gd name="T13" fmla="*/ 0 h 115"/>
                  <a:gd name="T14" fmla="*/ 25 w 125"/>
                  <a:gd name="T15" fmla="*/ 5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5" h="115">
                    <a:moveTo>
                      <a:pt x="25" y="53"/>
                    </a:moveTo>
                    <a:cubicBezTo>
                      <a:pt x="20" y="76"/>
                      <a:pt x="9" y="100"/>
                      <a:pt x="0" y="115"/>
                    </a:cubicBezTo>
                    <a:cubicBezTo>
                      <a:pt x="25" y="115"/>
                      <a:pt x="50" y="115"/>
                      <a:pt x="63" y="115"/>
                    </a:cubicBezTo>
                    <a:cubicBezTo>
                      <a:pt x="76" y="115"/>
                      <a:pt x="100" y="115"/>
                      <a:pt x="125" y="115"/>
                    </a:cubicBezTo>
                    <a:cubicBezTo>
                      <a:pt x="117" y="100"/>
                      <a:pt x="105" y="76"/>
                      <a:pt x="101" y="53"/>
                    </a:cubicBezTo>
                    <a:cubicBezTo>
                      <a:pt x="94" y="17"/>
                      <a:pt x="110" y="0"/>
                      <a:pt x="101" y="0"/>
                    </a:cubicBezTo>
                    <a:cubicBezTo>
                      <a:pt x="92" y="0"/>
                      <a:pt x="34" y="0"/>
                      <a:pt x="25" y="0"/>
                    </a:cubicBezTo>
                    <a:cubicBezTo>
                      <a:pt x="16" y="0"/>
                      <a:pt x="32" y="17"/>
                      <a:pt x="25" y="53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65000"/>
                    </a:schemeClr>
                  </a:gs>
                  <a:gs pos="50000">
                    <a:schemeClr val="tx1">
                      <a:lumMod val="65000"/>
                      <a:lumOff val="35000"/>
                    </a:schemeClr>
                  </a:gs>
                  <a:gs pos="15000">
                    <a:schemeClr val="bg1">
                      <a:lumMod val="65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18" name="Freeform 19">
                <a:extLst>
                  <a:ext uri="{FF2B5EF4-FFF2-40B4-BE49-F238E27FC236}">
                    <a16:creationId xmlns:a16="http://schemas.microsoft.com/office/drawing/2014/main" id="{6BC21995-F32A-43AF-9B14-0FA76B0224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8" y="661"/>
                <a:ext cx="38" cy="114"/>
              </a:xfrm>
              <a:custGeom>
                <a:avLst/>
                <a:gdLst>
                  <a:gd name="T0" fmla="*/ 38 w 38"/>
                  <a:gd name="T1" fmla="*/ 115 h 115"/>
                  <a:gd name="T2" fmla="*/ 38 w 38"/>
                  <a:gd name="T3" fmla="*/ 0 h 115"/>
                  <a:gd name="T4" fmla="*/ 9 w 38"/>
                  <a:gd name="T5" fmla="*/ 0 h 115"/>
                  <a:gd name="T6" fmla="*/ 15 w 38"/>
                  <a:gd name="T7" fmla="*/ 52 h 115"/>
                  <a:gd name="T8" fmla="*/ 0 w 38"/>
                  <a:gd name="T9" fmla="*/ 115 h 115"/>
                  <a:gd name="T10" fmla="*/ 38 w 38"/>
                  <a:gd name="T11" fmla="*/ 11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115">
                    <a:moveTo>
                      <a:pt x="38" y="115"/>
                    </a:moveTo>
                    <a:cubicBezTo>
                      <a:pt x="38" y="0"/>
                      <a:pt x="38" y="0"/>
                      <a:pt x="38" y="0"/>
                    </a:cubicBezTo>
                    <a:cubicBezTo>
                      <a:pt x="27" y="0"/>
                      <a:pt x="16" y="0"/>
                      <a:pt x="9" y="0"/>
                    </a:cubicBezTo>
                    <a:cubicBezTo>
                      <a:pt x="11" y="14"/>
                      <a:pt x="15" y="35"/>
                      <a:pt x="15" y="52"/>
                    </a:cubicBezTo>
                    <a:cubicBezTo>
                      <a:pt x="15" y="70"/>
                      <a:pt x="6" y="98"/>
                      <a:pt x="0" y="115"/>
                    </a:cubicBezTo>
                    <a:cubicBezTo>
                      <a:pt x="16" y="115"/>
                      <a:pt x="30" y="115"/>
                      <a:pt x="38" y="115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tx1">
                      <a:alpha val="20000"/>
                    </a:schemeClr>
                  </a:gs>
                  <a:gs pos="0">
                    <a:schemeClr val="tx1">
                      <a:alpha val="0"/>
                    </a:schemeClr>
                  </a:gs>
                </a:gsLst>
                <a:lin ang="162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19" name="Freeform 20">
                <a:extLst>
                  <a:ext uri="{FF2B5EF4-FFF2-40B4-BE49-F238E27FC236}">
                    <a16:creationId xmlns:a16="http://schemas.microsoft.com/office/drawing/2014/main" id="{D53A3B1C-4FC9-44F5-A001-D1575C10A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" y="3877"/>
                <a:ext cx="1403" cy="170"/>
              </a:xfrm>
              <a:custGeom>
                <a:avLst/>
                <a:gdLst>
                  <a:gd name="T0" fmla="*/ 0 w 1409"/>
                  <a:gd name="T1" fmla="*/ 171 h 171"/>
                  <a:gd name="T2" fmla="*/ 1409 w 1409"/>
                  <a:gd name="T3" fmla="*/ 171 h 171"/>
                  <a:gd name="T4" fmla="*/ 1345 w 1409"/>
                  <a:gd name="T5" fmla="*/ 0 h 171"/>
                  <a:gd name="T6" fmla="*/ 64 w 1409"/>
                  <a:gd name="T7" fmla="*/ 0 h 171"/>
                  <a:gd name="T8" fmla="*/ 0 w 1409"/>
                  <a:gd name="T9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09" h="171">
                    <a:moveTo>
                      <a:pt x="0" y="171"/>
                    </a:moveTo>
                    <a:cubicBezTo>
                      <a:pt x="1409" y="171"/>
                      <a:pt x="1409" y="171"/>
                      <a:pt x="1409" y="171"/>
                    </a:cubicBezTo>
                    <a:cubicBezTo>
                      <a:pt x="1409" y="171"/>
                      <a:pt x="1372" y="110"/>
                      <a:pt x="134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37" y="110"/>
                      <a:pt x="0" y="171"/>
                      <a:pt x="0" y="17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>
                      <a:lumMod val="50000"/>
                    </a:schemeClr>
                  </a:gs>
                  <a:gs pos="100000">
                    <a:schemeClr val="bg1">
                      <a:lumMod val="85000"/>
                    </a:schemeClr>
                  </a:gs>
                  <a:gs pos="70000">
                    <a:schemeClr val="tx1">
                      <a:lumMod val="75000"/>
                      <a:lumOff val="25000"/>
                    </a:schemeClr>
                  </a:gs>
                  <a:gs pos="30000">
                    <a:schemeClr val="tx1">
                      <a:lumMod val="65000"/>
                      <a:lumOff val="35000"/>
                    </a:schemeClr>
                  </a:gs>
                  <a:gs pos="15000">
                    <a:schemeClr val="bg1">
                      <a:lumMod val="65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 dirty="0"/>
              </a:p>
            </p:txBody>
          </p:sp>
          <p:sp>
            <p:nvSpPr>
              <p:cNvPr id="420" name="Freeform 22">
                <a:extLst>
                  <a:ext uri="{FF2B5EF4-FFF2-40B4-BE49-F238E27FC236}">
                    <a16:creationId xmlns:a16="http://schemas.microsoft.com/office/drawing/2014/main" id="{D2BFE8F4-37E2-4D8A-B2CC-6E78BDD4E8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7" y="1350"/>
                <a:ext cx="451" cy="421"/>
              </a:xfrm>
              <a:custGeom>
                <a:avLst/>
                <a:gdLst>
                  <a:gd name="T0" fmla="*/ 453 w 453"/>
                  <a:gd name="T1" fmla="*/ 424 h 424"/>
                  <a:gd name="T2" fmla="*/ 453 w 453"/>
                  <a:gd name="T3" fmla="*/ 0 h 424"/>
                  <a:gd name="T4" fmla="*/ 0 w 453"/>
                  <a:gd name="T5" fmla="*/ 0 h 424"/>
                  <a:gd name="T6" fmla="*/ 0 w 453"/>
                  <a:gd name="T7" fmla="*/ 424 h 424"/>
                  <a:gd name="T8" fmla="*/ 453 w 453"/>
                  <a:gd name="T9" fmla="*/ 424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3" h="424">
                    <a:moveTo>
                      <a:pt x="453" y="424"/>
                    </a:moveTo>
                    <a:cubicBezTo>
                      <a:pt x="453" y="148"/>
                      <a:pt x="453" y="36"/>
                      <a:pt x="45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6"/>
                      <a:pt x="0" y="148"/>
                      <a:pt x="0" y="424"/>
                    </a:cubicBezTo>
                    <a:lnTo>
                      <a:pt x="453" y="424"/>
                    </a:lnTo>
                    <a:close/>
                  </a:path>
                </a:pathLst>
              </a:custGeom>
              <a:gradFill>
                <a:gsLst>
                  <a:gs pos="70000">
                    <a:schemeClr val="accent1"/>
                  </a:gs>
                  <a:gs pos="0">
                    <a:schemeClr val="accent1">
                      <a:lumMod val="75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21" name="Freeform 23">
                <a:extLst>
                  <a:ext uri="{FF2B5EF4-FFF2-40B4-BE49-F238E27FC236}">
                    <a16:creationId xmlns:a16="http://schemas.microsoft.com/office/drawing/2014/main" id="{8B87462E-5BA9-453B-907F-9CA5E3CDBC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3" y="1771"/>
                <a:ext cx="480" cy="421"/>
              </a:xfrm>
              <a:custGeom>
                <a:avLst/>
                <a:gdLst>
                  <a:gd name="T0" fmla="*/ 14 w 482"/>
                  <a:gd name="T1" fmla="*/ 57 h 423"/>
                  <a:gd name="T2" fmla="*/ 0 w 482"/>
                  <a:gd name="T3" fmla="*/ 423 h 423"/>
                  <a:gd name="T4" fmla="*/ 482 w 482"/>
                  <a:gd name="T5" fmla="*/ 423 h 423"/>
                  <a:gd name="T6" fmla="*/ 467 w 482"/>
                  <a:gd name="T7" fmla="*/ 57 h 423"/>
                  <a:gd name="T8" fmla="*/ 467 w 482"/>
                  <a:gd name="T9" fmla="*/ 0 h 423"/>
                  <a:gd name="T10" fmla="*/ 14 w 482"/>
                  <a:gd name="T11" fmla="*/ 0 h 423"/>
                  <a:gd name="T12" fmla="*/ 14 w 482"/>
                  <a:gd name="T13" fmla="*/ 57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2" h="423">
                    <a:moveTo>
                      <a:pt x="14" y="57"/>
                    </a:moveTo>
                    <a:cubicBezTo>
                      <a:pt x="14" y="179"/>
                      <a:pt x="9" y="302"/>
                      <a:pt x="0" y="423"/>
                    </a:cubicBezTo>
                    <a:cubicBezTo>
                      <a:pt x="482" y="423"/>
                      <a:pt x="482" y="423"/>
                      <a:pt x="482" y="423"/>
                    </a:cubicBezTo>
                    <a:cubicBezTo>
                      <a:pt x="472" y="302"/>
                      <a:pt x="467" y="179"/>
                      <a:pt x="467" y="57"/>
                    </a:cubicBezTo>
                    <a:cubicBezTo>
                      <a:pt x="467" y="37"/>
                      <a:pt x="467" y="18"/>
                      <a:pt x="467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18"/>
                      <a:pt x="14" y="37"/>
                      <a:pt x="14" y="57"/>
                    </a:cubicBezTo>
                    <a:close/>
                  </a:path>
                </a:pathLst>
              </a:custGeom>
              <a:gradFill>
                <a:gsLst>
                  <a:gs pos="70000">
                    <a:schemeClr val="accent2"/>
                  </a:gs>
                  <a:gs pos="0">
                    <a:schemeClr val="accent2">
                      <a:lumMod val="75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22" name="Freeform 24">
                <a:extLst>
                  <a:ext uri="{FF2B5EF4-FFF2-40B4-BE49-F238E27FC236}">
                    <a16:creationId xmlns:a16="http://schemas.microsoft.com/office/drawing/2014/main" id="{68A1D5D0-F47D-4591-884B-B2691D50B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5" y="2192"/>
                <a:ext cx="575" cy="421"/>
              </a:xfrm>
              <a:custGeom>
                <a:avLst/>
                <a:gdLst>
                  <a:gd name="T0" fmla="*/ 0 w 577"/>
                  <a:gd name="T1" fmla="*/ 424 h 424"/>
                  <a:gd name="T2" fmla="*/ 577 w 577"/>
                  <a:gd name="T3" fmla="*/ 424 h 424"/>
                  <a:gd name="T4" fmla="*/ 530 w 577"/>
                  <a:gd name="T5" fmla="*/ 0 h 424"/>
                  <a:gd name="T6" fmla="*/ 48 w 577"/>
                  <a:gd name="T7" fmla="*/ 0 h 424"/>
                  <a:gd name="T8" fmla="*/ 0 w 577"/>
                  <a:gd name="T9" fmla="*/ 424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7" h="424">
                    <a:moveTo>
                      <a:pt x="0" y="424"/>
                    </a:moveTo>
                    <a:cubicBezTo>
                      <a:pt x="577" y="424"/>
                      <a:pt x="577" y="424"/>
                      <a:pt x="577" y="424"/>
                    </a:cubicBezTo>
                    <a:cubicBezTo>
                      <a:pt x="557" y="287"/>
                      <a:pt x="540" y="144"/>
                      <a:pt x="530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37" y="144"/>
                      <a:pt x="20" y="287"/>
                      <a:pt x="0" y="424"/>
                    </a:cubicBezTo>
                    <a:close/>
                  </a:path>
                </a:pathLst>
              </a:custGeom>
              <a:gradFill>
                <a:gsLst>
                  <a:gs pos="70000">
                    <a:schemeClr val="accent3"/>
                  </a:gs>
                  <a:gs pos="0">
                    <a:schemeClr val="accent3">
                      <a:lumMod val="75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23" name="Freeform 25">
                <a:extLst>
                  <a:ext uri="{FF2B5EF4-FFF2-40B4-BE49-F238E27FC236}">
                    <a16:creationId xmlns:a16="http://schemas.microsoft.com/office/drawing/2014/main" id="{3ADD6E6C-106E-4C54-809E-FB9E047CAE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2" y="2613"/>
                <a:ext cx="722" cy="422"/>
              </a:xfrm>
              <a:custGeom>
                <a:avLst/>
                <a:gdLst>
                  <a:gd name="T0" fmla="*/ 0 w 726"/>
                  <a:gd name="T1" fmla="*/ 424 h 424"/>
                  <a:gd name="T2" fmla="*/ 726 w 726"/>
                  <a:gd name="T3" fmla="*/ 424 h 424"/>
                  <a:gd name="T4" fmla="*/ 651 w 726"/>
                  <a:gd name="T5" fmla="*/ 0 h 424"/>
                  <a:gd name="T6" fmla="*/ 74 w 726"/>
                  <a:gd name="T7" fmla="*/ 0 h 424"/>
                  <a:gd name="T8" fmla="*/ 0 w 726"/>
                  <a:gd name="T9" fmla="*/ 424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6" h="424">
                    <a:moveTo>
                      <a:pt x="0" y="424"/>
                    </a:moveTo>
                    <a:cubicBezTo>
                      <a:pt x="726" y="424"/>
                      <a:pt x="726" y="424"/>
                      <a:pt x="726" y="424"/>
                    </a:cubicBezTo>
                    <a:cubicBezTo>
                      <a:pt x="698" y="290"/>
                      <a:pt x="672" y="148"/>
                      <a:pt x="651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53" y="148"/>
                      <a:pt x="27" y="290"/>
                      <a:pt x="0" y="424"/>
                    </a:cubicBezTo>
                    <a:close/>
                  </a:path>
                </a:pathLst>
              </a:custGeom>
              <a:gradFill>
                <a:gsLst>
                  <a:gs pos="70000">
                    <a:schemeClr val="accent4"/>
                  </a:gs>
                  <a:gs pos="0">
                    <a:schemeClr val="accent4">
                      <a:lumMod val="75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24" name="Freeform 26">
                <a:extLst>
                  <a:ext uri="{FF2B5EF4-FFF2-40B4-BE49-F238E27FC236}">
                    <a16:creationId xmlns:a16="http://schemas.microsoft.com/office/drawing/2014/main" id="{1AD93D96-CC0B-4732-B086-EBA2CA5FE6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3" y="3035"/>
                <a:ext cx="919" cy="420"/>
              </a:xfrm>
              <a:custGeom>
                <a:avLst/>
                <a:gdLst>
                  <a:gd name="T0" fmla="*/ 0 w 923"/>
                  <a:gd name="T1" fmla="*/ 423 h 423"/>
                  <a:gd name="T2" fmla="*/ 923 w 923"/>
                  <a:gd name="T3" fmla="*/ 423 h 423"/>
                  <a:gd name="T4" fmla="*/ 825 w 923"/>
                  <a:gd name="T5" fmla="*/ 0 h 423"/>
                  <a:gd name="T6" fmla="*/ 99 w 923"/>
                  <a:gd name="T7" fmla="*/ 0 h 423"/>
                  <a:gd name="T8" fmla="*/ 0 w 923"/>
                  <a:gd name="T9" fmla="*/ 423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3" h="423">
                    <a:moveTo>
                      <a:pt x="0" y="423"/>
                    </a:moveTo>
                    <a:cubicBezTo>
                      <a:pt x="923" y="423"/>
                      <a:pt x="923" y="423"/>
                      <a:pt x="923" y="423"/>
                    </a:cubicBezTo>
                    <a:cubicBezTo>
                      <a:pt x="891" y="298"/>
                      <a:pt x="856" y="155"/>
                      <a:pt x="825" y="0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67" y="155"/>
                      <a:pt x="33" y="298"/>
                      <a:pt x="0" y="423"/>
                    </a:cubicBezTo>
                    <a:close/>
                  </a:path>
                </a:pathLst>
              </a:custGeom>
              <a:gradFill>
                <a:gsLst>
                  <a:gs pos="70000">
                    <a:schemeClr val="accent5"/>
                  </a:gs>
                  <a:gs pos="0">
                    <a:schemeClr val="accent5">
                      <a:lumMod val="75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/>
              </a:p>
            </p:txBody>
          </p:sp>
          <p:sp>
            <p:nvSpPr>
              <p:cNvPr id="425" name="Freeform 27">
                <a:extLst>
                  <a:ext uri="{FF2B5EF4-FFF2-40B4-BE49-F238E27FC236}">
                    <a16:creationId xmlns:a16="http://schemas.microsoft.com/office/drawing/2014/main" id="{8A348170-EEB2-4E2D-9DF3-26C595CB7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2" y="3455"/>
                <a:ext cx="1163" cy="422"/>
              </a:xfrm>
              <a:custGeom>
                <a:avLst/>
                <a:gdLst>
                  <a:gd name="T0" fmla="*/ 122 w 1168"/>
                  <a:gd name="T1" fmla="*/ 0 h 424"/>
                  <a:gd name="T2" fmla="*/ 0 w 1168"/>
                  <a:gd name="T3" fmla="*/ 424 h 424"/>
                  <a:gd name="T4" fmla="*/ 1168 w 1168"/>
                  <a:gd name="T5" fmla="*/ 424 h 424"/>
                  <a:gd name="T6" fmla="*/ 1045 w 1168"/>
                  <a:gd name="T7" fmla="*/ 0 h 424"/>
                  <a:gd name="T8" fmla="*/ 122 w 1168"/>
                  <a:gd name="T9" fmla="*/ 0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8" h="424">
                    <a:moveTo>
                      <a:pt x="122" y="0"/>
                    </a:moveTo>
                    <a:cubicBezTo>
                      <a:pt x="73" y="189"/>
                      <a:pt x="27" y="337"/>
                      <a:pt x="0" y="424"/>
                    </a:cubicBezTo>
                    <a:cubicBezTo>
                      <a:pt x="1168" y="424"/>
                      <a:pt x="1168" y="424"/>
                      <a:pt x="1168" y="424"/>
                    </a:cubicBezTo>
                    <a:cubicBezTo>
                      <a:pt x="1140" y="337"/>
                      <a:pt x="1094" y="189"/>
                      <a:pt x="1045" y="0"/>
                    </a:cubicBezTo>
                    <a:lnTo>
                      <a:pt x="122" y="0"/>
                    </a:ln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3920" tIns="31961" rIns="63920" bIns="3196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20" dirty="0"/>
              </a:p>
            </p:txBody>
          </p:sp>
        </p:grpSp>
        <p:sp>
          <p:nvSpPr>
            <p:cNvPr id="426" name="TextBox 37">
              <a:extLst>
                <a:ext uri="{FF2B5EF4-FFF2-40B4-BE49-F238E27FC236}">
                  <a16:creationId xmlns:a16="http://schemas.microsoft.com/office/drawing/2014/main" id="{A1C3EEAA-FE1C-4FF6-81D8-58C3808EB393}"/>
                </a:ext>
              </a:extLst>
            </p:cNvPr>
            <p:cNvSpPr txBox="1"/>
            <p:nvPr/>
          </p:nvSpPr>
          <p:spPr>
            <a:xfrm>
              <a:off x="786911" y="1255404"/>
              <a:ext cx="537902" cy="4226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000" b="1" dirty="0">
                  <a:solidFill>
                    <a:schemeClr val="accent1"/>
                  </a:solidFill>
                </a:rPr>
                <a:t>01</a:t>
              </a:r>
            </a:p>
          </p:txBody>
        </p:sp>
        <p:sp>
          <p:nvSpPr>
            <p:cNvPr id="427" name="TextBox 40">
              <a:extLst>
                <a:ext uri="{FF2B5EF4-FFF2-40B4-BE49-F238E27FC236}">
                  <a16:creationId xmlns:a16="http://schemas.microsoft.com/office/drawing/2014/main" id="{FFC3CFF9-F636-4B97-BB50-FD4143A20526}"/>
                </a:ext>
              </a:extLst>
            </p:cNvPr>
            <p:cNvSpPr txBox="1"/>
            <p:nvPr/>
          </p:nvSpPr>
          <p:spPr>
            <a:xfrm>
              <a:off x="786911" y="1698497"/>
              <a:ext cx="537902" cy="4226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000" b="1" dirty="0">
                  <a:solidFill>
                    <a:schemeClr val="accent2"/>
                  </a:solidFill>
                </a:rPr>
                <a:t>02</a:t>
              </a:r>
            </a:p>
          </p:txBody>
        </p:sp>
        <p:sp>
          <p:nvSpPr>
            <p:cNvPr id="428" name="TextBox 43">
              <a:extLst>
                <a:ext uri="{FF2B5EF4-FFF2-40B4-BE49-F238E27FC236}">
                  <a16:creationId xmlns:a16="http://schemas.microsoft.com/office/drawing/2014/main" id="{E43FB280-9903-4391-A6A3-2AFD28B3CF90}"/>
                </a:ext>
              </a:extLst>
            </p:cNvPr>
            <p:cNvSpPr txBox="1"/>
            <p:nvPr/>
          </p:nvSpPr>
          <p:spPr>
            <a:xfrm>
              <a:off x="786911" y="2141592"/>
              <a:ext cx="537902" cy="4226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000" b="1" dirty="0">
                  <a:solidFill>
                    <a:schemeClr val="accent1"/>
                  </a:solidFill>
                </a:rPr>
                <a:t>03</a:t>
              </a:r>
            </a:p>
          </p:txBody>
        </p:sp>
        <p:sp>
          <p:nvSpPr>
            <p:cNvPr id="429" name="TextBox 46">
              <a:extLst>
                <a:ext uri="{FF2B5EF4-FFF2-40B4-BE49-F238E27FC236}">
                  <a16:creationId xmlns:a16="http://schemas.microsoft.com/office/drawing/2014/main" id="{B5B56D1F-875C-4B9A-B854-AFE95DEBCFDC}"/>
                </a:ext>
              </a:extLst>
            </p:cNvPr>
            <p:cNvSpPr txBox="1"/>
            <p:nvPr/>
          </p:nvSpPr>
          <p:spPr>
            <a:xfrm>
              <a:off x="786911" y="2584687"/>
              <a:ext cx="537902" cy="4226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000" b="1" dirty="0">
                  <a:solidFill>
                    <a:schemeClr val="accent4"/>
                  </a:solidFill>
                </a:rPr>
                <a:t>04</a:t>
              </a:r>
            </a:p>
          </p:txBody>
        </p:sp>
        <p:sp>
          <p:nvSpPr>
            <p:cNvPr id="430" name="TextBox 49">
              <a:extLst>
                <a:ext uri="{FF2B5EF4-FFF2-40B4-BE49-F238E27FC236}">
                  <a16:creationId xmlns:a16="http://schemas.microsoft.com/office/drawing/2014/main" id="{BF86F8D6-8A74-44D1-920C-F709C8E4EBDD}"/>
                </a:ext>
              </a:extLst>
            </p:cNvPr>
            <p:cNvSpPr txBox="1"/>
            <p:nvPr/>
          </p:nvSpPr>
          <p:spPr>
            <a:xfrm>
              <a:off x="786911" y="3027781"/>
              <a:ext cx="537902" cy="4226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</a:rPr>
                <a:t>05</a:t>
              </a:r>
            </a:p>
          </p:txBody>
        </p:sp>
        <p:sp>
          <p:nvSpPr>
            <p:cNvPr id="431" name="Freeform 263">
              <a:extLst>
                <a:ext uri="{FF2B5EF4-FFF2-40B4-BE49-F238E27FC236}">
                  <a16:creationId xmlns:a16="http://schemas.microsoft.com/office/drawing/2014/main" id="{D4D5592A-5485-471F-9979-24AFB5B093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7173" y="1424276"/>
              <a:ext cx="253085" cy="250399"/>
            </a:xfrm>
            <a:custGeom>
              <a:avLst/>
              <a:gdLst>
                <a:gd name="T0" fmla="*/ 3 w 77"/>
                <a:gd name="T1" fmla="*/ 30 h 77"/>
                <a:gd name="T2" fmla="*/ 30 w 77"/>
                <a:gd name="T3" fmla="*/ 5 h 77"/>
                <a:gd name="T4" fmla="*/ 7 w 77"/>
                <a:gd name="T5" fmla="*/ 31 h 77"/>
                <a:gd name="T6" fmla="*/ 71 w 77"/>
                <a:gd name="T7" fmla="*/ 31 h 77"/>
                <a:gd name="T8" fmla="*/ 74 w 77"/>
                <a:gd name="T9" fmla="*/ 30 h 77"/>
                <a:gd name="T10" fmla="*/ 47 w 77"/>
                <a:gd name="T11" fmla="*/ 5 h 77"/>
                <a:gd name="T12" fmla="*/ 71 w 77"/>
                <a:gd name="T13" fmla="*/ 31 h 77"/>
                <a:gd name="T14" fmla="*/ 72 w 77"/>
                <a:gd name="T15" fmla="*/ 43 h 77"/>
                <a:gd name="T16" fmla="*/ 61 w 77"/>
                <a:gd name="T17" fmla="*/ 40 h 77"/>
                <a:gd name="T18" fmla="*/ 55 w 77"/>
                <a:gd name="T19" fmla="*/ 61 h 77"/>
                <a:gd name="T20" fmla="*/ 40 w 77"/>
                <a:gd name="T21" fmla="*/ 68 h 77"/>
                <a:gd name="T22" fmla="*/ 39 w 77"/>
                <a:gd name="T23" fmla="*/ 77 h 77"/>
                <a:gd name="T24" fmla="*/ 38 w 77"/>
                <a:gd name="T25" fmla="*/ 68 h 77"/>
                <a:gd name="T26" fmla="*/ 22 w 77"/>
                <a:gd name="T27" fmla="*/ 61 h 77"/>
                <a:gd name="T28" fmla="*/ 16 w 77"/>
                <a:gd name="T29" fmla="*/ 40 h 77"/>
                <a:gd name="T30" fmla="*/ 5 w 77"/>
                <a:gd name="T31" fmla="*/ 43 h 77"/>
                <a:gd name="T32" fmla="*/ 5 w 77"/>
                <a:gd name="T33" fmla="*/ 34 h 77"/>
                <a:gd name="T34" fmla="*/ 16 w 77"/>
                <a:gd name="T35" fmla="*/ 38 h 77"/>
                <a:gd name="T36" fmla="*/ 22 w 77"/>
                <a:gd name="T37" fmla="*/ 16 h 77"/>
                <a:gd name="T38" fmla="*/ 38 w 77"/>
                <a:gd name="T39" fmla="*/ 9 h 77"/>
                <a:gd name="T40" fmla="*/ 39 w 77"/>
                <a:gd name="T41" fmla="*/ 0 h 77"/>
                <a:gd name="T42" fmla="*/ 40 w 77"/>
                <a:gd name="T43" fmla="*/ 9 h 77"/>
                <a:gd name="T44" fmla="*/ 55 w 77"/>
                <a:gd name="T45" fmla="*/ 16 h 77"/>
                <a:gd name="T46" fmla="*/ 61 w 77"/>
                <a:gd name="T47" fmla="*/ 38 h 77"/>
                <a:gd name="T48" fmla="*/ 72 w 77"/>
                <a:gd name="T49" fmla="*/ 34 h 77"/>
                <a:gd name="T50" fmla="*/ 39 w 77"/>
                <a:gd name="T51" fmla="*/ 8 h 77"/>
                <a:gd name="T52" fmla="*/ 39 w 77"/>
                <a:gd name="T53" fmla="*/ 2 h 77"/>
                <a:gd name="T54" fmla="*/ 39 w 77"/>
                <a:gd name="T55" fmla="*/ 8 h 77"/>
                <a:gd name="T56" fmla="*/ 5 w 77"/>
                <a:gd name="T57" fmla="*/ 36 h 77"/>
                <a:gd name="T58" fmla="*/ 5 w 77"/>
                <a:gd name="T59" fmla="*/ 41 h 77"/>
                <a:gd name="T60" fmla="*/ 39 w 77"/>
                <a:gd name="T61" fmla="*/ 70 h 77"/>
                <a:gd name="T62" fmla="*/ 39 w 77"/>
                <a:gd name="T63" fmla="*/ 75 h 77"/>
                <a:gd name="T64" fmla="*/ 39 w 77"/>
                <a:gd name="T65" fmla="*/ 70 h 77"/>
                <a:gd name="T66" fmla="*/ 52 w 77"/>
                <a:gd name="T67" fmla="*/ 47 h 77"/>
                <a:gd name="T68" fmla="*/ 42 w 77"/>
                <a:gd name="T69" fmla="*/ 39 h 77"/>
                <a:gd name="T70" fmla="*/ 46 w 77"/>
                <a:gd name="T71" fmla="*/ 33 h 77"/>
                <a:gd name="T72" fmla="*/ 45 w 77"/>
                <a:gd name="T73" fmla="*/ 30 h 77"/>
                <a:gd name="T74" fmla="*/ 32 w 77"/>
                <a:gd name="T75" fmla="*/ 30 h 77"/>
                <a:gd name="T76" fmla="*/ 31 w 77"/>
                <a:gd name="T77" fmla="*/ 33 h 77"/>
                <a:gd name="T78" fmla="*/ 35 w 77"/>
                <a:gd name="T79" fmla="*/ 39 h 77"/>
                <a:gd name="T80" fmla="*/ 25 w 77"/>
                <a:gd name="T81" fmla="*/ 47 h 77"/>
                <a:gd name="T82" fmla="*/ 55 w 77"/>
                <a:gd name="T83" fmla="*/ 54 h 77"/>
                <a:gd name="T84" fmla="*/ 72 w 77"/>
                <a:gd name="T85" fmla="*/ 36 h 77"/>
                <a:gd name="T86" fmla="*/ 72 w 77"/>
                <a:gd name="T87" fmla="*/ 41 h 77"/>
                <a:gd name="T88" fmla="*/ 71 w 77"/>
                <a:gd name="T89" fmla="*/ 47 h 77"/>
                <a:gd name="T90" fmla="*/ 47 w 77"/>
                <a:gd name="T91" fmla="*/ 73 h 77"/>
                <a:gd name="T92" fmla="*/ 74 w 77"/>
                <a:gd name="T93" fmla="*/ 47 h 77"/>
                <a:gd name="T94" fmla="*/ 71 w 77"/>
                <a:gd name="T95" fmla="*/ 47 h 77"/>
                <a:gd name="T96" fmla="*/ 5 w 77"/>
                <a:gd name="T97" fmla="*/ 47 h 77"/>
                <a:gd name="T98" fmla="*/ 30 w 77"/>
                <a:gd name="T99" fmla="*/ 74 h 77"/>
                <a:gd name="T100" fmla="*/ 30 w 77"/>
                <a:gd name="T101" fmla="*/ 7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" h="77">
                  <a:moveTo>
                    <a:pt x="5" y="30"/>
                  </a:moveTo>
                  <a:cubicBezTo>
                    <a:pt x="4" y="30"/>
                    <a:pt x="4" y="30"/>
                    <a:pt x="3" y="30"/>
                  </a:cubicBezTo>
                  <a:cubicBezTo>
                    <a:pt x="7" y="17"/>
                    <a:pt x="17" y="7"/>
                    <a:pt x="30" y="4"/>
                  </a:cubicBezTo>
                  <a:cubicBezTo>
                    <a:pt x="30" y="4"/>
                    <a:pt x="30" y="4"/>
                    <a:pt x="30" y="5"/>
                  </a:cubicBezTo>
                  <a:cubicBezTo>
                    <a:pt x="30" y="5"/>
                    <a:pt x="30" y="6"/>
                    <a:pt x="30" y="7"/>
                  </a:cubicBezTo>
                  <a:cubicBezTo>
                    <a:pt x="19" y="10"/>
                    <a:pt x="9" y="19"/>
                    <a:pt x="7" y="31"/>
                  </a:cubicBezTo>
                  <a:cubicBezTo>
                    <a:pt x="6" y="30"/>
                    <a:pt x="5" y="30"/>
                    <a:pt x="5" y="30"/>
                  </a:cubicBezTo>
                  <a:close/>
                  <a:moveTo>
                    <a:pt x="71" y="31"/>
                  </a:moveTo>
                  <a:cubicBezTo>
                    <a:pt x="71" y="30"/>
                    <a:pt x="72" y="30"/>
                    <a:pt x="72" y="30"/>
                  </a:cubicBezTo>
                  <a:cubicBezTo>
                    <a:pt x="73" y="30"/>
                    <a:pt x="73" y="30"/>
                    <a:pt x="74" y="30"/>
                  </a:cubicBezTo>
                  <a:cubicBezTo>
                    <a:pt x="70" y="17"/>
                    <a:pt x="60" y="7"/>
                    <a:pt x="47" y="4"/>
                  </a:cubicBezTo>
                  <a:cubicBezTo>
                    <a:pt x="47" y="4"/>
                    <a:pt x="47" y="4"/>
                    <a:pt x="47" y="5"/>
                  </a:cubicBezTo>
                  <a:cubicBezTo>
                    <a:pt x="47" y="5"/>
                    <a:pt x="47" y="6"/>
                    <a:pt x="47" y="7"/>
                  </a:cubicBezTo>
                  <a:cubicBezTo>
                    <a:pt x="58" y="10"/>
                    <a:pt x="68" y="19"/>
                    <a:pt x="71" y="31"/>
                  </a:cubicBezTo>
                  <a:close/>
                  <a:moveTo>
                    <a:pt x="77" y="39"/>
                  </a:moveTo>
                  <a:cubicBezTo>
                    <a:pt x="77" y="41"/>
                    <a:pt x="75" y="43"/>
                    <a:pt x="72" y="43"/>
                  </a:cubicBezTo>
                  <a:cubicBezTo>
                    <a:pt x="70" y="43"/>
                    <a:pt x="68" y="42"/>
                    <a:pt x="68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1" y="58"/>
                    <a:pt x="58" y="61"/>
                    <a:pt x="55" y="61"/>
                  </a:cubicBezTo>
                  <a:cubicBezTo>
                    <a:pt x="40" y="61"/>
                    <a:pt x="40" y="61"/>
                    <a:pt x="40" y="61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2" y="68"/>
                    <a:pt x="43" y="70"/>
                    <a:pt x="43" y="73"/>
                  </a:cubicBezTo>
                  <a:cubicBezTo>
                    <a:pt x="43" y="75"/>
                    <a:pt x="41" y="77"/>
                    <a:pt x="39" y="77"/>
                  </a:cubicBezTo>
                  <a:cubicBezTo>
                    <a:pt x="36" y="77"/>
                    <a:pt x="34" y="75"/>
                    <a:pt x="34" y="73"/>
                  </a:cubicBezTo>
                  <a:cubicBezTo>
                    <a:pt x="34" y="70"/>
                    <a:pt x="35" y="68"/>
                    <a:pt x="38" y="68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19" y="61"/>
                    <a:pt x="16" y="58"/>
                    <a:pt x="16" y="55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2"/>
                    <a:pt x="7" y="43"/>
                    <a:pt x="5" y="43"/>
                  </a:cubicBezTo>
                  <a:cubicBezTo>
                    <a:pt x="2" y="43"/>
                    <a:pt x="0" y="41"/>
                    <a:pt x="0" y="39"/>
                  </a:cubicBezTo>
                  <a:cubicBezTo>
                    <a:pt x="0" y="36"/>
                    <a:pt x="2" y="34"/>
                    <a:pt x="5" y="34"/>
                  </a:cubicBezTo>
                  <a:cubicBezTo>
                    <a:pt x="7" y="34"/>
                    <a:pt x="9" y="36"/>
                    <a:pt x="9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19"/>
                    <a:pt x="19" y="16"/>
                    <a:pt x="22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5" y="9"/>
                    <a:pt x="34" y="7"/>
                    <a:pt x="34" y="5"/>
                  </a:cubicBezTo>
                  <a:cubicBezTo>
                    <a:pt x="34" y="2"/>
                    <a:pt x="36" y="0"/>
                    <a:pt x="39" y="0"/>
                  </a:cubicBezTo>
                  <a:cubicBezTo>
                    <a:pt x="41" y="0"/>
                    <a:pt x="43" y="2"/>
                    <a:pt x="43" y="5"/>
                  </a:cubicBezTo>
                  <a:cubicBezTo>
                    <a:pt x="43" y="7"/>
                    <a:pt x="42" y="9"/>
                    <a:pt x="40" y="9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8" y="16"/>
                    <a:pt x="61" y="19"/>
                    <a:pt x="61" y="22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6"/>
                    <a:pt x="70" y="34"/>
                    <a:pt x="72" y="34"/>
                  </a:cubicBezTo>
                  <a:cubicBezTo>
                    <a:pt x="75" y="34"/>
                    <a:pt x="77" y="36"/>
                    <a:pt x="77" y="39"/>
                  </a:cubicBezTo>
                  <a:close/>
                  <a:moveTo>
                    <a:pt x="39" y="8"/>
                  </a:moveTo>
                  <a:cubicBezTo>
                    <a:pt x="40" y="8"/>
                    <a:pt x="41" y="6"/>
                    <a:pt x="41" y="5"/>
                  </a:cubicBezTo>
                  <a:cubicBezTo>
                    <a:pt x="41" y="3"/>
                    <a:pt x="40" y="2"/>
                    <a:pt x="39" y="2"/>
                  </a:cubicBezTo>
                  <a:cubicBezTo>
                    <a:pt x="37" y="2"/>
                    <a:pt x="36" y="3"/>
                    <a:pt x="36" y="5"/>
                  </a:cubicBezTo>
                  <a:cubicBezTo>
                    <a:pt x="36" y="6"/>
                    <a:pt x="37" y="8"/>
                    <a:pt x="39" y="8"/>
                  </a:cubicBezTo>
                  <a:close/>
                  <a:moveTo>
                    <a:pt x="7" y="39"/>
                  </a:moveTo>
                  <a:cubicBezTo>
                    <a:pt x="7" y="37"/>
                    <a:pt x="6" y="36"/>
                    <a:pt x="5" y="36"/>
                  </a:cubicBezTo>
                  <a:cubicBezTo>
                    <a:pt x="3" y="36"/>
                    <a:pt x="2" y="37"/>
                    <a:pt x="2" y="39"/>
                  </a:cubicBezTo>
                  <a:cubicBezTo>
                    <a:pt x="2" y="40"/>
                    <a:pt x="3" y="41"/>
                    <a:pt x="5" y="41"/>
                  </a:cubicBezTo>
                  <a:cubicBezTo>
                    <a:pt x="6" y="41"/>
                    <a:pt x="7" y="40"/>
                    <a:pt x="7" y="39"/>
                  </a:cubicBezTo>
                  <a:close/>
                  <a:moveTo>
                    <a:pt x="39" y="70"/>
                  </a:moveTo>
                  <a:cubicBezTo>
                    <a:pt x="37" y="70"/>
                    <a:pt x="36" y="71"/>
                    <a:pt x="36" y="73"/>
                  </a:cubicBezTo>
                  <a:cubicBezTo>
                    <a:pt x="36" y="74"/>
                    <a:pt x="37" y="75"/>
                    <a:pt x="39" y="75"/>
                  </a:cubicBezTo>
                  <a:cubicBezTo>
                    <a:pt x="40" y="75"/>
                    <a:pt x="41" y="74"/>
                    <a:pt x="41" y="73"/>
                  </a:cubicBezTo>
                  <a:cubicBezTo>
                    <a:pt x="41" y="71"/>
                    <a:pt x="40" y="70"/>
                    <a:pt x="39" y="70"/>
                  </a:cubicBezTo>
                  <a:close/>
                  <a:moveTo>
                    <a:pt x="55" y="54"/>
                  </a:moveTo>
                  <a:cubicBezTo>
                    <a:pt x="55" y="54"/>
                    <a:pt x="54" y="49"/>
                    <a:pt x="52" y="47"/>
                  </a:cubicBezTo>
                  <a:cubicBezTo>
                    <a:pt x="51" y="45"/>
                    <a:pt x="44" y="44"/>
                    <a:pt x="43" y="43"/>
                  </a:cubicBezTo>
                  <a:cubicBezTo>
                    <a:pt x="42" y="42"/>
                    <a:pt x="42" y="40"/>
                    <a:pt x="42" y="39"/>
                  </a:cubicBezTo>
                  <a:cubicBezTo>
                    <a:pt x="43" y="38"/>
                    <a:pt x="44" y="37"/>
                    <a:pt x="44" y="35"/>
                  </a:cubicBezTo>
                  <a:cubicBezTo>
                    <a:pt x="45" y="35"/>
                    <a:pt x="45" y="34"/>
                    <a:pt x="46" y="33"/>
                  </a:cubicBezTo>
                  <a:cubicBezTo>
                    <a:pt x="46" y="32"/>
                    <a:pt x="45" y="32"/>
                    <a:pt x="45" y="31"/>
                  </a:cubicBezTo>
                  <a:cubicBezTo>
                    <a:pt x="45" y="31"/>
                    <a:pt x="45" y="31"/>
                    <a:pt x="45" y="30"/>
                  </a:cubicBezTo>
                  <a:cubicBezTo>
                    <a:pt x="45" y="26"/>
                    <a:pt x="42" y="23"/>
                    <a:pt x="39" y="23"/>
                  </a:cubicBezTo>
                  <a:cubicBezTo>
                    <a:pt x="35" y="23"/>
                    <a:pt x="32" y="26"/>
                    <a:pt x="3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32"/>
                    <a:pt x="31" y="32"/>
                    <a:pt x="31" y="33"/>
                  </a:cubicBezTo>
                  <a:cubicBezTo>
                    <a:pt x="32" y="34"/>
                    <a:pt x="32" y="35"/>
                    <a:pt x="33" y="35"/>
                  </a:cubicBezTo>
                  <a:cubicBezTo>
                    <a:pt x="33" y="37"/>
                    <a:pt x="34" y="38"/>
                    <a:pt x="35" y="39"/>
                  </a:cubicBezTo>
                  <a:cubicBezTo>
                    <a:pt x="35" y="40"/>
                    <a:pt x="35" y="42"/>
                    <a:pt x="34" y="43"/>
                  </a:cubicBezTo>
                  <a:cubicBezTo>
                    <a:pt x="34" y="44"/>
                    <a:pt x="26" y="45"/>
                    <a:pt x="25" y="47"/>
                  </a:cubicBezTo>
                  <a:cubicBezTo>
                    <a:pt x="24" y="49"/>
                    <a:pt x="22" y="54"/>
                    <a:pt x="22" y="54"/>
                  </a:cubicBezTo>
                  <a:lnTo>
                    <a:pt x="55" y="54"/>
                  </a:lnTo>
                  <a:close/>
                  <a:moveTo>
                    <a:pt x="75" y="39"/>
                  </a:moveTo>
                  <a:cubicBezTo>
                    <a:pt x="75" y="37"/>
                    <a:pt x="74" y="36"/>
                    <a:pt x="72" y="36"/>
                  </a:cubicBezTo>
                  <a:cubicBezTo>
                    <a:pt x="71" y="36"/>
                    <a:pt x="70" y="37"/>
                    <a:pt x="70" y="39"/>
                  </a:cubicBezTo>
                  <a:cubicBezTo>
                    <a:pt x="70" y="40"/>
                    <a:pt x="71" y="41"/>
                    <a:pt x="72" y="41"/>
                  </a:cubicBezTo>
                  <a:cubicBezTo>
                    <a:pt x="74" y="41"/>
                    <a:pt x="75" y="40"/>
                    <a:pt x="75" y="39"/>
                  </a:cubicBezTo>
                  <a:close/>
                  <a:moveTo>
                    <a:pt x="71" y="47"/>
                  </a:moveTo>
                  <a:cubicBezTo>
                    <a:pt x="68" y="58"/>
                    <a:pt x="58" y="68"/>
                    <a:pt x="47" y="71"/>
                  </a:cubicBezTo>
                  <a:cubicBezTo>
                    <a:pt x="47" y="71"/>
                    <a:pt x="47" y="72"/>
                    <a:pt x="47" y="73"/>
                  </a:cubicBezTo>
                  <a:cubicBezTo>
                    <a:pt x="47" y="73"/>
                    <a:pt x="47" y="73"/>
                    <a:pt x="47" y="74"/>
                  </a:cubicBezTo>
                  <a:cubicBezTo>
                    <a:pt x="60" y="71"/>
                    <a:pt x="70" y="60"/>
                    <a:pt x="74" y="47"/>
                  </a:cubicBezTo>
                  <a:cubicBezTo>
                    <a:pt x="73" y="47"/>
                    <a:pt x="73" y="47"/>
                    <a:pt x="72" y="47"/>
                  </a:cubicBezTo>
                  <a:cubicBezTo>
                    <a:pt x="72" y="47"/>
                    <a:pt x="71" y="47"/>
                    <a:pt x="71" y="47"/>
                  </a:cubicBezTo>
                  <a:close/>
                  <a:moveTo>
                    <a:pt x="7" y="47"/>
                  </a:moveTo>
                  <a:cubicBezTo>
                    <a:pt x="6" y="47"/>
                    <a:pt x="5" y="47"/>
                    <a:pt x="5" y="47"/>
                  </a:cubicBezTo>
                  <a:cubicBezTo>
                    <a:pt x="4" y="47"/>
                    <a:pt x="4" y="47"/>
                    <a:pt x="3" y="47"/>
                  </a:cubicBezTo>
                  <a:cubicBezTo>
                    <a:pt x="7" y="60"/>
                    <a:pt x="17" y="71"/>
                    <a:pt x="30" y="74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2"/>
                    <a:pt x="30" y="71"/>
                    <a:pt x="30" y="71"/>
                  </a:cubicBezTo>
                  <a:cubicBezTo>
                    <a:pt x="19" y="68"/>
                    <a:pt x="9" y="58"/>
                    <a:pt x="7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47"/>
            </a:p>
          </p:txBody>
        </p:sp>
        <p:sp>
          <p:nvSpPr>
            <p:cNvPr id="432" name="Freeform 270">
              <a:extLst>
                <a:ext uri="{FF2B5EF4-FFF2-40B4-BE49-F238E27FC236}">
                  <a16:creationId xmlns:a16="http://schemas.microsoft.com/office/drawing/2014/main" id="{344483CA-452D-4F17-9E72-5456C5E6E8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3912" y="1873314"/>
              <a:ext cx="237788" cy="238539"/>
            </a:xfrm>
            <a:custGeom>
              <a:avLst/>
              <a:gdLst>
                <a:gd name="T0" fmla="*/ 72 w 72"/>
                <a:gd name="T1" fmla="*/ 37 h 73"/>
                <a:gd name="T2" fmla="*/ 71 w 72"/>
                <a:gd name="T3" fmla="*/ 35 h 73"/>
                <a:gd name="T4" fmla="*/ 56 w 72"/>
                <a:gd name="T5" fmla="*/ 28 h 73"/>
                <a:gd name="T6" fmla="*/ 71 w 72"/>
                <a:gd name="T7" fmla="*/ 20 h 73"/>
                <a:gd name="T8" fmla="*/ 72 w 72"/>
                <a:gd name="T9" fmla="*/ 19 h 73"/>
                <a:gd name="T10" fmla="*/ 71 w 72"/>
                <a:gd name="T11" fmla="*/ 18 h 73"/>
                <a:gd name="T12" fmla="*/ 37 w 72"/>
                <a:gd name="T13" fmla="*/ 0 h 73"/>
                <a:gd name="T14" fmla="*/ 35 w 72"/>
                <a:gd name="T15" fmla="*/ 0 h 73"/>
                <a:gd name="T16" fmla="*/ 1 w 72"/>
                <a:gd name="T17" fmla="*/ 18 h 73"/>
                <a:gd name="T18" fmla="*/ 0 w 72"/>
                <a:gd name="T19" fmla="*/ 19 h 73"/>
                <a:gd name="T20" fmla="*/ 1 w 72"/>
                <a:gd name="T21" fmla="*/ 20 h 73"/>
                <a:gd name="T22" fmla="*/ 15 w 72"/>
                <a:gd name="T23" fmla="*/ 28 h 73"/>
                <a:gd name="T24" fmla="*/ 1 w 72"/>
                <a:gd name="T25" fmla="*/ 35 h 73"/>
                <a:gd name="T26" fmla="*/ 0 w 72"/>
                <a:gd name="T27" fmla="*/ 37 h 73"/>
                <a:gd name="T28" fmla="*/ 1 w 72"/>
                <a:gd name="T29" fmla="*/ 38 h 73"/>
                <a:gd name="T30" fmla="*/ 15 w 72"/>
                <a:gd name="T31" fmla="*/ 45 h 73"/>
                <a:gd name="T32" fmla="*/ 1 w 72"/>
                <a:gd name="T33" fmla="*/ 53 h 73"/>
                <a:gd name="T34" fmla="*/ 0 w 72"/>
                <a:gd name="T35" fmla="*/ 54 h 73"/>
                <a:gd name="T36" fmla="*/ 1 w 72"/>
                <a:gd name="T37" fmla="*/ 56 h 73"/>
                <a:gd name="T38" fmla="*/ 35 w 72"/>
                <a:gd name="T39" fmla="*/ 73 h 73"/>
                <a:gd name="T40" fmla="*/ 36 w 72"/>
                <a:gd name="T41" fmla="*/ 73 h 73"/>
                <a:gd name="T42" fmla="*/ 37 w 72"/>
                <a:gd name="T43" fmla="*/ 73 h 73"/>
                <a:gd name="T44" fmla="*/ 71 w 72"/>
                <a:gd name="T45" fmla="*/ 56 h 73"/>
                <a:gd name="T46" fmla="*/ 72 w 72"/>
                <a:gd name="T47" fmla="*/ 54 h 73"/>
                <a:gd name="T48" fmla="*/ 71 w 72"/>
                <a:gd name="T49" fmla="*/ 53 h 73"/>
                <a:gd name="T50" fmla="*/ 56 w 72"/>
                <a:gd name="T51" fmla="*/ 45 h 73"/>
                <a:gd name="T52" fmla="*/ 71 w 72"/>
                <a:gd name="T53" fmla="*/ 38 h 73"/>
                <a:gd name="T54" fmla="*/ 72 w 72"/>
                <a:gd name="T55" fmla="*/ 37 h 73"/>
                <a:gd name="T56" fmla="*/ 19 w 72"/>
                <a:gd name="T57" fmla="*/ 47 h 73"/>
                <a:gd name="T58" fmla="*/ 35 w 72"/>
                <a:gd name="T59" fmla="*/ 55 h 73"/>
                <a:gd name="T60" fmla="*/ 36 w 72"/>
                <a:gd name="T61" fmla="*/ 55 h 73"/>
                <a:gd name="T62" fmla="*/ 36 w 72"/>
                <a:gd name="T63" fmla="*/ 55 h 73"/>
                <a:gd name="T64" fmla="*/ 52 w 72"/>
                <a:gd name="T65" fmla="*/ 47 h 73"/>
                <a:gd name="T66" fmla="*/ 67 w 72"/>
                <a:gd name="T67" fmla="*/ 54 h 73"/>
                <a:gd name="T68" fmla="*/ 36 w 72"/>
                <a:gd name="T69" fmla="*/ 70 h 73"/>
                <a:gd name="T70" fmla="*/ 5 w 72"/>
                <a:gd name="T71" fmla="*/ 54 h 73"/>
                <a:gd name="T72" fmla="*/ 19 w 72"/>
                <a:gd name="T73" fmla="*/ 47 h 73"/>
                <a:gd name="T74" fmla="*/ 52 w 72"/>
                <a:gd name="T75" fmla="*/ 44 h 73"/>
                <a:gd name="T76" fmla="*/ 52 w 72"/>
                <a:gd name="T77" fmla="*/ 45 h 73"/>
                <a:gd name="T78" fmla="*/ 36 w 72"/>
                <a:gd name="T79" fmla="*/ 53 h 73"/>
                <a:gd name="T80" fmla="*/ 20 w 72"/>
                <a:gd name="T81" fmla="*/ 45 h 73"/>
                <a:gd name="T82" fmla="*/ 19 w 72"/>
                <a:gd name="T83" fmla="*/ 44 h 73"/>
                <a:gd name="T84" fmla="*/ 5 w 72"/>
                <a:gd name="T85" fmla="*/ 37 h 73"/>
                <a:gd name="T86" fmla="*/ 19 w 72"/>
                <a:gd name="T87" fmla="*/ 29 h 73"/>
                <a:gd name="T88" fmla="*/ 35 w 72"/>
                <a:gd name="T89" fmla="*/ 38 h 73"/>
                <a:gd name="T90" fmla="*/ 36 w 72"/>
                <a:gd name="T91" fmla="*/ 38 h 73"/>
                <a:gd name="T92" fmla="*/ 36 w 72"/>
                <a:gd name="T93" fmla="*/ 38 h 73"/>
                <a:gd name="T94" fmla="*/ 52 w 72"/>
                <a:gd name="T95" fmla="*/ 29 h 73"/>
                <a:gd name="T96" fmla="*/ 67 w 72"/>
                <a:gd name="T97" fmla="*/ 37 h 73"/>
                <a:gd name="T98" fmla="*/ 52 w 72"/>
                <a:gd name="T99" fmla="*/ 44 h 73"/>
                <a:gd name="T100" fmla="*/ 52 w 72"/>
                <a:gd name="T101" fmla="*/ 27 h 73"/>
                <a:gd name="T102" fmla="*/ 52 w 72"/>
                <a:gd name="T103" fmla="*/ 27 h 73"/>
                <a:gd name="T104" fmla="*/ 36 w 72"/>
                <a:gd name="T105" fmla="*/ 36 h 73"/>
                <a:gd name="T106" fmla="*/ 20 w 72"/>
                <a:gd name="T107" fmla="*/ 27 h 73"/>
                <a:gd name="T108" fmla="*/ 19 w 72"/>
                <a:gd name="T109" fmla="*/ 27 h 73"/>
                <a:gd name="T110" fmla="*/ 5 w 72"/>
                <a:gd name="T111" fmla="*/ 19 h 73"/>
                <a:gd name="T112" fmla="*/ 36 w 72"/>
                <a:gd name="T113" fmla="*/ 3 h 73"/>
                <a:gd name="T114" fmla="*/ 67 w 72"/>
                <a:gd name="T115" fmla="*/ 19 h 73"/>
                <a:gd name="T116" fmla="*/ 52 w 72"/>
                <a:gd name="T117" fmla="*/ 27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2" h="73">
                  <a:moveTo>
                    <a:pt x="72" y="37"/>
                  </a:moveTo>
                  <a:cubicBezTo>
                    <a:pt x="72" y="36"/>
                    <a:pt x="71" y="36"/>
                    <a:pt x="71" y="35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1" y="20"/>
                    <a:pt x="72" y="20"/>
                    <a:pt x="72" y="19"/>
                  </a:cubicBezTo>
                  <a:cubicBezTo>
                    <a:pt x="72" y="18"/>
                    <a:pt x="71" y="18"/>
                    <a:pt x="71" y="18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6" y="0"/>
                    <a:pt x="36" y="0"/>
                    <a:pt x="35" y="0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20"/>
                    <a:pt x="0" y="20"/>
                    <a:pt x="1" y="20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0" y="36"/>
                    <a:pt x="0" y="37"/>
                  </a:cubicBezTo>
                  <a:cubicBezTo>
                    <a:pt x="0" y="37"/>
                    <a:pt x="0" y="38"/>
                    <a:pt x="1" y="38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0" y="53"/>
                    <a:pt x="0" y="54"/>
                    <a:pt x="0" y="54"/>
                  </a:cubicBezTo>
                  <a:cubicBezTo>
                    <a:pt x="0" y="55"/>
                    <a:pt x="0" y="55"/>
                    <a:pt x="1" y="56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5" y="73"/>
                    <a:pt x="36" y="73"/>
                    <a:pt x="36" y="73"/>
                  </a:cubicBezTo>
                  <a:cubicBezTo>
                    <a:pt x="36" y="73"/>
                    <a:pt x="36" y="73"/>
                    <a:pt x="37" y="73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5"/>
                    <a:pt x="72" y="55"/>
                    <a:pt x="72" y="54"/>
                  </a:cubicBezTo>
                  <a:cubicBezTo>
                    <a:pt x="72" y="54"/>
                    <a:pt x="71" y="53"/>
                    <a:pt x="71" y="53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2" y="37"/>
                    <a:pt x="72" y="37"/>
                  </a:cubicBezTo>
                  <a:close/>
                  <a:moveTo>
                    <a:pt x="19" y="47"/>
                  </a:moveTo>
                  <a:cubicBezTo>
                    <a:pt x="35" y="55"/>
                    <a:pt x="35" y="55"/>
                    <a:pt x="35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36" y="70"/>
                    <a:pt x="36" y="70"/>
                    <a:pt x="36" y="70"/>
                  </a:cubicBezTo>
                  <a:cubicBezTo>
                    <a:pt x="5" y="54"/>
                    <a:pt x="5" y="54"/>
                    <a:pt x="5" y="54"/>
                  </a:cubicBezTo>
                  <a:lnTo>
                    <a:pt x="19" y="47"/>
                  </a:lnTo>
                  <a:close/>
                  <a:moveTo>
                    <a:pt x="52" y="44"/>
                  </a:moveTo>
                  <a:cubicBezTo>
                    <a:pt x="52" y="44"/>
                    <a:pt x="52" y="45"/>
                    <a:pt x="52" y="45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5"/>
                    <a:pt x="20" y="44"/>
                    <a:pt x="19" y="44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67" y="37"/>
                    <a:pt x="67" y="37"/>
                    <a:pt x="67" y="37"/>
                  </a:cubicBezTo>
                  <a:lnTo>
                    <a:pt x="52" y="44"/>
                  </a:ln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19" y="27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67" y="19"/>
                    <a:pt x="67" y="19"/>
                    <a:pt x="67" y="19"/>
                  </a:cubicBezTo>
                  <a:lnTo>
                    <a:pt x="52" y="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47"/>
            </a:p>
          </p:txBody>
        </p:sp>
        <p:sp>
          <p:nvSpPr>
            <p:cNvPr id="433" name="Freeform 280">
              <a:extLst>
                <a:ext uri="{FF2B5EF4-FFF2-40B4-BE49-F238E27FC236}">
                  <a16:creationId xmlns:a16="http://schemas.microsoft.com/office/drawing/2014/main" id="{84892B81-5D13-4E97-9538-99404480AA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9822" y="2313933"/>
              <a:ext cx="209977" cy="217452"/>
            </a:xfrm>
            <a:custGeom>
              <a:avLst/>
              <a:gdLst>
                <a:gd name="T0" fmla="*/ 12 w 64"/>
                <a:gd name="T1" fmla="*/ 45 h 67"/>
                <a:gd name="T2" fmla="*/ 12 w 64"/>
                <a:gd name="T3" fmla="*/ 63 h 67"/>
                <a:gd name="T4" fmla="*/ 8 w 64"/>
                <a:gd name="T5" fmla="*/ 67 h 67"/>
                <a:gd name="T6" fmla="*/ 4 w 64"/>
                <a:gd name="T7" fmla="*/ 67 h 67"/>
                <a:gd name="T8" fmla="*/ 0 w 64"/>
                <a:gd name="T9" fmla="*/ 63 h 67"/>
                <a:gd name="T10" fmla="*/ 0 w 64"/>
                <a:gd name="T11" fmla="*/ 45 h 67"/>
                <a:gd name="T12" fmla="*/ 4 w 64"/>
                <a:gd name="T13" fmla="*/ 41 h 67"/>
                <a:gd name="T14" fmla="*/ 8 w 64"/>
                <a:gd name="T15" fmla="*/ 41 h 67"/>
                <a:gd name="T16" fmla="*/ 12 w 64"/>
                <a:gd name="T17" fmla="*/ 45 h 67"/>
                <a:gd name="T18" fmla="*/ 26 w 64"/>
                <a:gd name="T19" fmla="*/ 26 h 67"/>
                <a:gd name="T20" fmla="*/ 21 w 64"/>
                <a:gd name="T21" fmla="*/ 26 h 67"/>
                <a:gd name="T22" fmla="*/ 17 w 64"/>
                <a:gd name="T23" fmla="*/ 30 h 67"/>
                <a:gd name="T24" fmla="*/ 17 w 64"/>
                <a:gd name="T25" fmla="*/ 63 h 67"/>
                <a:gd name="T26" fmla="*/ 21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59 w 64"/>
                <a:gd name="T79" fmla="*/ 6 h 67"/>
                <a:gd name="T80" fmla="*/ 60 w 64"/>
                <a:gd name="T81" fmla="*/ 0 h 67"/>
                <a:gd name="T82" fmla="*/ 54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0 w 64"/>
                <a:gd name="T89" fmla="*/ 9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2" y="45"/>
                  </a:moveTo>
                  <a:cubicBezTo>
                    <a:pt x="12" y="63"/>
                    <a:pt x="12" y="63"/>
                    <a:pt x="12" y="63"/>
                  </a:cubicBezTo>
                  <a:cubicBezTo>
                    <a:pt x="12" y="65"/>
                    <a:pt x="11" y="67"/>
                    <a:pt x="8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2" y="67"/>
                    <a:pt x="0" y="65"/>
                    <a:pt x="0" y="63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3"/>
                    <a:pt x="2" y="41"/>
                    <a:pt x="4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11" y="41"/>
                    <a:pt x="12" y="43"/>
                    <a:pt x="12" y="45"/>
                  </a:cubicBezTo>
                  <a:close/>
                  <a:moveTo>
                    <a:pt x="26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19" y="26"/>
                    <a:pt x="17" y="28"/>
                    <a:pt x="17" y="30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5"/>
                    <a:pt x="19" y="67"/>
                    <a:pt x="21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6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6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3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3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47"/>
            </a:p>
          </p:txBody>
        </p:sp>
        <p:sp>
          <p:nvSpPr>
            <p:cNvPr id="434" name="Freeform 236">
              <a:extLst>
                <a:ext uri="{FF2B5EF4-FFF2-40B4-BE49-F238E27FC236}">
                  <a16:creationId xmlns:a16="http://schemas.microsoft.com/office/drawing/2014/main" id="{6B4DF873-C868-4DAC-8478-65C6D72255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9229" y="2775341"/>
              <a:ext cx="203024" cy="206911"/>
            </a:xfrm>
            <a:custGeom>
              <a:avLst/>
              <a:gdLst>
                <a:gd name="T0" fmla="*/ 22 w 62"/>
                <a:gd name="T1" fmla="*/ 32 h 64"/>
                <a:gd name="T2" fmla="*/ 22 w 62"/>
                <a:gd name="T3" fmla="*/ 52 h 64"/>
                <a:gd name="T4" fmla="*/ 26 w 62"/>
                <a:gd name="T5" fmla="*/ 43 h 64"/>
                <a:gd name="T6" fmla="*/ 47 w 62"/>
                <a:gd name="T7" fmla="*/ 7 h 64"/>
                <a:gd name="T8" fmla="*/ 47 w 62"/>
                <a:gd name="T9" fmla="*/ 19 h 64"/>
                <a:gd name="T10" fmla="*/ 40 w 62"/>
                <a:gd name="T11" fmla="*/ 37 h 64"/>
                <a:gd name="T12" fmla="*/ 37 w 62"/>
                <a:gd name="T13" fmla="*/ 27 h 64"/>
                <a:gd name="T14" fmla="*/ 33 w 62"/>
                <a:gd name="T15" fmla="*/ 26 h 64"/>
                <a:gd name="T16" fmla="*/ 25 w 62"/>
                <a:gd name="T17" fmla="*/ 21 h 64"/>
                <a:gd name="T18" fmla="*/ 19 w 62"/>
                <a:gd name="T19" fmla="*/ 21 h 64"/>
                <a:gd name="T20" fmla="*/ 11 w 62"/>
                <a:gd name="T21" fmla="*/ 28 h 64"/>
                <a:gd name="T22" fmla="*/ 6 w 62"/>
                <a:gd name="T23" fmla="*/ 27 h 64"/>
                <a:gd name="T24" fmla="*/ 3 w 62"/>
                <a:gd name="T25" fmla="*/ 38 h 64"/>
                <a:gd name="T26" fmla="*/ 0 w 62"/>
                <a:gd name="T27" fmla="*/ 43 h 64"/>
                <a:gd name="T28" fmla="*/ 3 w 62"/>
                <a:gd name="T29" fmla="*/ 47 h 64"/>
                <a:gd name="T30" fmla="*/ 6 w 62"/>
                <a:gd name="T31" fmla="*/ 58 h 64"/>
                <a:gd name="T32" fmla="*/ 11 w 62"/>
                <a:gd name="T33" fmla="*/ 58 h 64"/>
                <a:gd name="T34" fmla="*/ 19 w 62"/>
                <a:gd name="T35" fmla="*/ 64 h 64"/>
                <a:gd name="T36" fmla="*/ 25 w 62"/>
                <a:gd name="T37" fmla="*/ 64 h 64"/>
                <a:gd name="T38" fmla="*/ 33 w 62"/>
                <a:gd name="T39" fmla="*/ 60 h 64"/>
                <a:gd name="T40" fmla="*/ 37 w 62"/>
                <a:gd name="T41" fmla="*/ 58 h 64"/>
                <a:gd name="T42" fmla="*/ 40 w 62"/>
                <a:gd name="T43" fmla="*/ 48 h 64"/>
                <a:gd name="T44" fmla="*/ 44 w 62"/>
                <a:gd name="T45" fmla="*/ 46 h 64"/>
                <a:gd name="T46" fmla="*/ 39 w 62"/>
                <a:gd name="T47" fmla="*/ 52 h 64"/>
                <a:gd name="T48" fmla="*/ 22 w 62"/>
                <a:gd name="T49" fmla="*/ 58 h 64"/>
                <a:gd name="T50" fmla="*/ 6 w 62"/>
                <a:gd name="T51" fmla="*/ 52 h 64"/>
                <a:gd name="T52" fmla="*/ 8 w 62"/>
                <a:gd name="T53" fmla="*/ 38 h 64"/>
                <a:gd name="T54" fmla="*/ 18 w 62"/>
                <a:gd name="T55" fmla="*/ 24 h 64"/>
                <a:gd name="T56" fmla="*/ 37 w 62"/>
                <a:gd name="T57" fmla="*/ 30 h 64"/>
                <a:gd name="T58" fmla="*/ 41 w 62"/>
                <a:gd name="T59" fmla="*/ 44 h 64"/>
                <a:gd name="T60" fmla="*/ 59 w 62"/>
                <a:gd name="T61" fmla="*/ 10 h 64"/>
                <a:gd name="T62" fmla="*/ 60 w 62"/>
                <a:gd name="T63" fmla="*/ 7 h 64"/>
                <a:gd name="T64" fmla="*/ 55 w 62"/>
                <a:gd name="T65" fmla="*/ 4 h 64"/>
                <a:gd name="T66" fmla="*/ 50 w 62"/>
                <a:gd name="T67" fmla="*/ 0 h 64"/>
                <a:gd name="T68" fmla="*/ 46 w 62"/>
                <a:gd name="T69" fmla="*/ 0 h 64"/>
                <a:gd name="T70" fmla="*/ 40 w 62"/>
                <a:gd name="T71" fmla="*/ 4 h 64"/>
                <a:gd name="T72" fmla="*/ 38 w 62"/>
                <a:gd name="T73" fmla="*/ 3 h 64"/>
                <a:gd name="T74" fmla="*/ 36 w 62"/>
                <a:gd name="T75" fmla="*/ 10 h 64"/>
                <a:gd name="T76" fmla="*/ 33 w 62"/>
                <a:gd name="T77" fmla="*/ 14 h 64"/>
                <a:gd name="T78" fmla="*/ 35 w 62"/>
                <a:gd name="T79" fmla="*/ 18 h 64"/>
                <a:gd name="T80" fmla="*/ 37 w 62"/>
                <a:gd name="T81" fmla="*/ 24 h 64"/>
                <a:gd name="T82" fmla="*/ 40 w 62"/>
                <a:gd name="T83" fmla="*/ 24 h 64"/>
                <a:gd name="T84" fmla="*/ 46 w 62"/>
                <a:gd name="T85" fmla="*/ 28 h 64"/>
                <a:gd name="T86" fmla="*/ 50 w 62"/>
                <a:gd name="T87" fmla="*/ 28 h 64"/>
                <a:gd name="T88" fmla="*/ 54 w 62"/>
                <a:gd name="T89" fmla="*/ 24 h 64"/>
                <a:gd name="T90" fmla="*/ 58 w 62"/>
                <a:gd name="T91" fmla="*/ 24 h 64"/>
                <a:gd name="T92" fmla="*/ 59 w 62"/>
                <a:gd name="T93" fmla="*/ 18 h 64"/>
                <a:gd name="T94" fmla="*/ 62 w 62"/>
                <a:gd name="T95" fmla="*/ 12 h 64"/>
                <a:gd name="T96" fmla="*/ 53 w 62"/>
                <a:gd name="T97" fmla="*/ 22 h 64"/>
                <a:gd name="T98" fmla="*/ 43 w 62"/>
                <a:gd name="T99" fmla="*/ 25 h 64"/>
                <a:gd name="T100" fmla="*/ 36 w 62"/>
                <a:gd name="T101" fmla="*/ 15 h 64"/>
                <a:gd name="T102" fmla="*/ 38 w 62"/>
                <a:gd name="T103" fmla="*/ 7 h 64"/>
                <a:gd name="T104" fmla="*/ 50 w 62"/>
                <a:gd name="T105" fmla="*/ 3 h 64"/>
                <a:gd name="T106" fmla="*/ 56 w 62"/>
                <a:gd name="T107" fmla="*/ 1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2" h="64">
                  <a:moveTo>
                    <a:pt x="22" y="32"/>
                  </a:moveTo>
                  <a:cubicBezTo>
                    <a:pt x="16" y="32"/>
                    <a:pt x="11" y="37"/>
                    <a:pt x="11" y="43"/>
                  </a:cubicBezTo>
                  <a:cubicBezTo>
                    <a:pt x="11" y="49"/>
                    <a:pt x="16" y="54"/>
                    <a:pt x="22" y="54"/>
                  </a:cubicBezTo>
                  <a:cubicBezTo>
                    <a:pt x="28" y="54"/>
                    <a:pt x="33" y="49"/>
                    <a:pt x="33" y="43"/>
                  </a:cubicBezTo>
                  <a:cubicBezTo>
                    <a:pt x="33" y="37"/>
                    <a:pt x="28" y="32"/>
                    <a:pt x="22" y="32"/>
                  </a:cubicBezTo>
                  <a:close/>
                  <a:moveTo>
                    <a:pt x="22" y="52"/>
                  </a:moveTo>
                  <a:cubicBezTo>
                    <a:pt x="17" y="52"/>
                    <a:pt x="13" y="48"/>
                    <a:pt x="13" y="43"/>
                  </a:cubicBezTo>
                  <a:cubicBezTo>
                    <a:pt x="13" y="38"/>
                    <a:pt x="17" y="34"/>
                    <a:pt x="22" y="34"/>
                  </a:cubicBezTo>
                  <a:cubicBezTo>
                    <a:pt x="27" y="34"/>
                    <a:pt x="31" y="38"/>
                    <a:pt x="31" y="43"/>
                  </a:cubicBezTo>
                  <a:cubicBezTo>
                    <a:pt x="31" y="48"/>
                    <a:pt x="27" y="52"/>
                    <a:pt x="22" y="52"/>
                  </a:cubicBezTo>
                  <a:close/>
                  <a:moveTo>
                    <a:pt x="26" y="43"/>
                  </a:moveTo>
                  <a:cubicBezTo>
                    <a:pt x="26" y="45"/>
                    <a:pt x="24" y="47"/>
                    <a:pt x="22" y="47"/>
                  </a:cubicBezTo>
                  <a:cubicBezTo>
                    <a:pt x="19" y="47"/>
                    <a:pt x="17" y="45"/>
                    <a:pt x="17" y="43"/>
                  </a:cubicBezTo>
                  <a:cubicBezTo>
                    <a:pt x="17" y="40"/>
                    <a:pt x="19" y="38"/>
                    <a:pt x="22" y="38"/>
                  </a:cubicBezTo>
                  <a:cubicBezTo>
                    <a:pt x="24" y="38"/>
                    <a:pt x="26" y="40"/>
                    <a:pt x="26" y="43"/>
                  </a:cubicBezTo>
                  <a:close/>
                  <a:moveTo>
                    <a:pt x="47" y="7"/>
                  </a:moveTo>
                  <a:cubicBezTo>
                    <a:pt x="43" y="7"/>
                    <a:pt x="40" y="10"/>
                    <a:pt x="40" y="14"/>
                  </a:cubicBezTo>
                  <a:cubicBezTo>
                    <a:pt x="40" y="18"/>
                    <a:pt x="43" y="21"/>
                    <a:pt x="47" y="21"/>
                  </a:cubicBezTo>
                  <a:cubicBezTo>
                    <a:pt x="51" y="21"/>
                    <a:pt x="54" y="18"/>
                    <a:pt x="54" y="14"/>
                  </a:cubicBezTo>
                  <a:cubicBezTo>
                    <a:pt x="54" y="10"/>
                    <a:pt x="51" y="7"/>
                    <a:pt x="47" y="7"/>
                  </a:cubicBezTo>
                  <a:close/>
                  <a:moveTo>
                    <a:pt x="47" y="19"/>
                  </a:moveTo>
                  <a:cubicBezTo>
                    <a:pt x="44" y="19"/>
                    <a:pt x="42" y="17"/>
                    <a:pt x="42" y="14"/>
                  </a:cubicBezTo>
                  <a:cubicBezTo>
                    <a:pt x="42" y="11"/>
                    <a:pt x="44" y="9"/>
                    <a:pt x="47" y="9"/>
                  </a:cubicBezTo>
                  <a:cubicBezTo>
                    <a:pt x="50" y="9"/>
                    <a:pt x="52" y="11"/>
                    <a:pt x="52" y="14"/>
                  </a:cubicBezTo>
                  <a:cubicBezTo>
                    <a:pt x="52" y="17"/>
                    <a:pt x="50" y="19"/>
                    <a:pt x="47" y="19"/>
                  </a:cubicBezTo>
                  <a:close/>
                  <a:moveTo>
                    <a:pt x="43" y="38"/>
                  </a:moveTo>
                  <a:cubicBezTo>
                    <a:pt x="43" y="38"/>
                    <a:pt x="43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1" y="38"/>
                    <a:pt x="41" y="38"/>
                  </a:cubicBezTo>
                  <a:cubicBezTo>
                    <a:pt x="41" y="38"/>
                    <a:pt x="40" y="38"/>
                    <a:pt x="40" y="37"/>
                  </a:cubicBezTo>
                  <a:cubicBezTo>
                    <a:pt x="40" y="36"/>
                    <a:pt x="40" y="35"/>
                    <a:pt x="41" y="35"/>
                  </a:cubicBezTo>
                  <a:cubicBezTo>
                    <a:pt x="41" y="35"/>
                    <a:pt x="42" y="34"/>
                    <a:pt x="42" y="34"/>
                  </a:cubicBezTo>
                  <a:cubicBezTo>
                    <a:pt x="42" y="33"/>
                    <a:pt x="42" y="33"/>
                    <a:pt x="42" y="32"/>
                  </a:cubicBezTo>
                  <a:cubicBezTo>
                    <a:pt x="41" y="30"/>
                    <a:pt x="40" y="29"/>
                    <a:pt x="38" y="27"/>
                  </a:cubicBezTo>
                  <a:cubicBezTo>
                    <a:pt x="38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6" y="27"/>
                    <a:pt x="36" y="27"/>
                    <a:pt x="35" y="27"/>
                  </a:cubicBezTo>
                  <a:cubicBezTo>
                    <a:pt x="35" y="28"/>
                    <a:pt x="35" y="28"/>
                    <a:pt x="34" y="28"/>
                  </a:cubicBezTo>
                  <a:cubicBezTo>
                    <a:pt x="34" y="28"/>
                    <a:pt x="33" y="28"/>
                    <a:pt x="33" y="28"/>
                  </a:cubicBezTo>
                  <a:cubicBezTo>
                    <a:pt x="32" y="27"/>
                    <a:pt x="32" y="26"/>
                    <a:pt x="33" y="26"/>
                  </a:cubicBezTo>
                  <a:cubicBezTo>
                    <a:pt x="33" y="25"/>
                    <a:pt x="33" y="25"/>
                    <a:pt x="33" y="24"/>
                  </a:cubicBezTo>
                  <a:cubicBezTo>
                    <a:pt x="33" y="23"/>
                    <a:pt x="32" y="23"/>
                    <a:pt x="32" y="23"/>
                  </a:cubicBezTo>
                  <a:cubicBezTo>
                    <a:pt x="30" y="22"/>
                    <a:pt x="28" y="21"/>
                    <a:pt x="26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4" y="24"/>
                    <a:pt x="23" y="24"/>
                    <a:pt x="22" y="24"/>
                  </a:cubicBezTo>
                  <a:cubicBezTo>
                    <a:pt x="21" y="24"/>
                    <a:pt x="21" y="24"/>
                    <a:pt x="21" y="23"/>
                  </a:cubicBezTo>
                  <a:cubicBezTo>
                    <a:pt x="21" y="22"/>
                    <a:pt x="20" y="22"/>
                    <a:pt x="20" y="21"/>
                  </a:cubicBezTo>
                  <a:cubicBezTo>
                    <a:pt x="20" y="21"/>
                    <a:pt x="19" y="21"/>
                    <a:pt x="19" y="21"/>
                  </a:cubicBezTo>
                  <a:cubicBezTo>
                    <a:pt x="19" y="21"/>
                    <a:pt x="18" y="21"/>
                    <a:pt x="18" y="21"/>
                  </a:cubicBezTo>
                  <a:cubicBezTo>
                    <a:pt x="16" y="21"/>
                    <a:pt x="14" y="22"/>
                    <a:pt x="13" y="23"/>
                  </a:cubicBezTo>
                  <a:cubicBezTo>
                    <a:pt x="12" y="23"/>
                    <a:pt x="12" y="23"/>
                    <a:pt x="12" y="24"/>
                  </a:cubicBezTo>
                  <a:cubicBezTo>
                    <a:pt x="12" y="25"/>
                    <a:pt x="12" y="25"/>
                    <a:pt x="12" y="26"/>
                  </a:cubicBezTo>
                  <a:cubicBezTo>
                    <a:pt x="12" y="26"/>
                    <a:pt x="12" y="27"/>
                    <a:pt x="11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0" y="28"/>
                    <a:pt x="10" y="28"/>
                    <a:pt x="9" y="27"/>
                  </a:cubicBezTo>
                  <a:cubicBezTo>
                    <a:pt x="9" y="27"/>
                    <a:pt x="8" y="27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7" y="27"/>
                    <a:pt x="7" y="27"/>
                    <a:pt x="6" y="27"/>
                  </a:cubicBezTo>
                  <a:cubicBezTo>
                    <a:pt x="5" y="29"/>
                    <a:pt x="4" y="30"/>
                    <a:pt x="3" y="32"/>
                  </a:cubicBezTo>
                  <a:cubicBezTo>
                    <a:pt x="3" y="33"/>
                    <a:pt x="3" y="33"/>
                    <a:pt x="3" y="34"/>
                  </a:cubicBezTo>
                  <a:cubicBezTo>
                    <a:pt x="3" y="34"/>
                    <a:pt x="3" y="35"/>
                    <a:pt x="4" y="35"/>
                  </a:cubicBezTo>
                  <a:cubicBezTo>
                    <a:pt x="5" y="35"/>
                    <a:pt x="5" y="36"/>
                    <a:pt x="5" y="37"/>
                  </a:cubicBezTo>
                  <a:cubicBezTo>
                    <a:pt x="5" y="38"/>
                    <a:pt x="4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2" y="38"/>
                  </a:cubicBezTo>
                  <a:cubicBezTo>
                    <a:pt x="2" y="38"/>
                    <a:pt x="2" y="38"/>
                    <a:pt x="1" y="38"/>
                  </a:cubicBezTo>
                  <a:cubicBezTo>
                    <a:pt x="1" y="39"/>
                    <a:pt x="1" y="39"/>
                    <a:pt x="0" y="40"/>
                  </a:cubicBezTo>
                  <a:cubicBezTo>
                    <a:pt x="0" y="41"/>
                    <a:pt x="0" y="42"/>
                    <a:pt x="0" y="43"/>
                  </a:cubicBezTo>
                  <a:cubicBezTo>
                    <a:pt x="0" y="44"/>
                    <a:pt x="0" y="45"/>
                    <a:pt x="0" y="46"/>
                  </a:cubicBezTo>
                  <a:cubicBezTo>
                    <a:pt x="1" y="46"/>
                    <a:pt x="1" y="47"/>
                    <a:pt x="1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4" y="47"/>
                    <a:pt x="5" y="48"/>
                    <a:pt x="5" y="48"/>
                  </a:cubicBezTo>
                  <a:cubicBezTo>
                    <a:pt x="5" y="49"/>
                    <a:pt x="5" y="50"/>
                    <a:pt x="4" y="50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2"/>
                    <a:pt x="3" y="53"/>
                    <a:pt x="3" y="53"/>
                  </a:cubicBezTo>
                  <a:cubicBezTo>
                    <a:pt x="4" y="55"/>
                    <a:pt x="5" y="56"/>
                    <a:pt x="6" y="58"/>
                  </a:cubicBezTo>
                  <a:cubicBezTo>
                    <a:pt x="7" y="58"/>
                    <a:pt x="7" y="58"/>
                    <a:pt x="8" y="5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8" y="58"/>
                    <a:pt x="9" y="58"/>
                    <a:pt x="9" y="58"/>
                  </a:cubicBezTo>
                  <a:cubicBezTo>
                    <a:pt x="10" y="57"/>
                    <a:pt x="10" y="57"/>
                    <a:pt x="11" y="57"/>
                  </a:cubicBezTo>
                  <a:cubicBezTo>
                    <a:pt x="11" y="57"/>
                    <a:pt x="11" y="57"/>
                    <a:pt x="11" y="58"/>
                  </a:cubicBezTo>
                  <a:cubicBezTo>
                    <a:pt x="12" y="58"/>
                    <a:pt x="12" y="59"/>
                    <a:pt x="12" y="60"/>
                  </a:cubicBezTo>
                  <a:cubicBezTo>
                    <a:pt x="12" y="60"/>
                    <a:pt x="12" y="61"/>
                    <a:pt x="12" y="61"/>
                  </a:cubicBezTo>
                  <a:cubicBezTo>
                    <a:pt x="12" y="62"/>
                    <a:pt x="12" y="62"/>
                    <a:pt x="13" y="62"/>
                  </a:cubicBezTo>
                  <a:cubicBezTo>
                    <a:pt x="14" y="63"/>
                    <a:pt x="16" y="64"/>
                    <a:pt x="18" y="64"/>
                  </a:cubicBezTo>
                  <a:cubicBezTo>
                    <a:pt x="18" y="64"/>
                    <a:pt x="19" y="64"/>
                    <a:pt x="19" y="64"/>
                  </a:cubicBezTo>
                  <a:cubicBezTo>
                    <a:pt x="19" y="64"/>
                    <a:pt x="20" y="64"/>
                    <a:pt x="20" y="64"/>
                  </a:cubicBezTo>
                  <a:cubicBezTo>
                    <a:pt x="20" y="64"/>
                    <a:pt x="21" y="63"/>
                    <a:pt x="21" y="63"/>
                  </a:cubicBezTo>
                  <a:cubicBezTo>
                    <a:pt x="21" y="62"/>
                    <a:pt x="21" y="61"/>
                    <a:pt x="22" y="61"/>
                  </a:cubicBezTo>
                  <a:cubicBezTo>
                    <a:pt x="23" y="61"/>
                    <a:pt x="24" y="62"/>
                    <a:pt x="24" y="63"/>
                  </a:cubicBezTo>
                  <a:cubicBezTo>
                    <a:pt x="24" y="63"/>
                    <a:pt x="24" y="64"/>
                    <a:pt x="25" y="64"/>
                  </a:cubicBezTo>
                  <a:cubicBezTo>
                    <a:pt x="25" y="64"/>
                    <a:pt x="25" y="64"/>
                    <a:pt x="26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28" y="64"/>
                    <a:pt x="30" y="63"/>
                    <a:pt x="32" y="62"/>
                  </a:cubicBezTo>
                  <a:cubicBezTo>
                    <a:pt x="32" y="62"/>
                    <a:pt x="33" y="62"/>
                    <a:pt x="33" y="61"/>
                  </a:cubicBezTo>
                  <a:cubicBezTo>
                    <a:pt x="33" y="61"/>
                    <a:pt x="33" y="60"/>
                    <a:pt x="33" y="60"/>
                  </a:cubicBezTo>
                  <a:cubicBezTo>
                    <a:pt x="32" y="59"/>
                    <a:pt x="32" y="58"/>
                    <a:pt x="33" y="58"/>
                  </a:cubicBezTo>
                  <a:cubicBezTo>
                    <a:pt x="33" y="57"/>
                    <a:pt x="34" y="57"/>
                    <a:pt x="34" y="57"/>
                  </a:cubicBezTo>
                  <a:cubicBezTo>
                    <a:pt x="35" y="57"/>
                    <a:pt x="35" y="57"/>
                    <a:pt x="35" y="58"/>
                  </a:cubicBezTo>
                  <a:cubicBezTo>
                    <a:pt x="36" y="58"/>
                    <a:pt x="36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8" y="58"/>
                    <a:pt x="38" y="58"/>
                  </a:cubicBezTo>
                  <a:cubicBezTo>
                    <a:pt x="40" y="56"/>
                    <a:pt x="41" y="55"/>
                    <a:pt x="42" y="53"/>
                  </a:cubicBezTo>
                  <a:cubicBezTo>
                    <a:pt x="42" y="53"/>
                    <a:pt x="42" y="52"/>
                    <a:pt x="42" y="51"/>
                  </a:cubicBezTo>
                  <a:cubicBezTo>
                    <a:pt x="42" y="51"/>
                    <a:pt x="41" y="51"/>
                    <a:pt x="41" y="50"/>
                  </a:cubicBezTo>
                  <a:cubicBezTo>
                    <a:pt x="40" y="50"/>
                    <a:pt x="40" y="49"/>
                    <a:pt x="40" y="48"/>
                  </a:cubicBezTo>
                  <a:cubicBezTo>
                    <a:pt x="40" y="48"/>
                    <a:pt x="41" y="47"/>
                    <a:pt x="41" y="47"/>
                  </a:cubicBezTo>
                  <a:cubicBezTo>
                    <a:pt x="41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4" y="47"/>
                    <a:pt x="44" y="46"/>
                    <a:pt x="44" y="46"/>
                  </a:cubicBezTo>
                  <a:cubicBezTo>
                    <a:pt x="44" y="45"/>
                    <a:pt x="44" y="44"/>
                    <a:pt x="44" y="43"/>
                  </a:cubicBezTo>
                  <a:cubicBezTo>
                    <a:pt x="44" y="42"/>
                    <a:pt x="44" y="41"/>
                    <a:pt x="44" y="40"/>
                  </a:cubicBezTo>
                  <a:cubicBezTo>
                    <a:pt x="44" y="39"/>
                    <a:pt x="44" y="39"/>
                    <a:pt x="43" y="38"/>
                  </a:cubicBezTo>
                  <a:close/>
                  <a:moveTo>
                    <a:pt x="37" y="47"/>
                  </a:moveTo>
                  <a:cubicBezTo>
                    <a:pt x="36" y="49"/>
                    <a:pt x="37" y="51"/>
                    <a:pt x="39" y="52"/>
                  </a:cubicBezTo>
                  <a:cubicBezTo>
                    <a:pt x="38" y="53"/>
                    <a:pt x="37" y="54"/>
                    <a:pt x="37" y="55"/>
                  </a:cubicBezTo>
                  <a:cubicBezTo>
                    <a:pt x="35" y="54"/>
                    <a:pt x="33" y="54"/>
                    <a:pt x="31" y="55"/>
                  </a:cubicBezTo>
                  <a:cubicBezTo>
                    <a:pt x="30" y="56"/>
                    <a:pt x="29" y="58"/>
                    <a:pt x="30" y="60"/>
                  </a:cubicBezTo>
                  <a:cubicBezTo>
                    <a:pt x="29" y="61"/>
                    <a:pt x="28" y="61"/>
                    <a:pt x="27" y="61"/>
                  </a:cubicBezTo>
                  <a:cubicBezTo>
                    <a:pt x="26" y="59"/>
                    <a:pt x="24" y="58"/>
                    <a:pt x="22" y="58"/>
                  </a:cubicBezTo>
                  <a:cubicBezTo>
                    <a:pt x="20" y="58"/>
                    <a:pt x="19" y="59"/>
                    <a:pt x="18" y="61"/>
                  </a:cubicBezTo>
                  <a:cubicBezTo>
                    <a:pt x="17" y="61"/>
                    <a:pt x="16" y="61"/>
                    <a:pt x="15" y="60"/>
                  </a:cubicBezTo>
                  <a:cubicBezTo>
                    <a:pt x="15" y="58"/>
                    <a:pt x="15" y="56"/>
                    <a:pt x="13" y="55"/>
                  </a:cubicBezTo>
                  <a:cubicBezTo>
                    <a:pt x="12" y="54"/>
                    <a:pt x="9" y="54"/>
                    <a:pt x="8" y="55"/>
                  </a:cubicBezTo>
                  <a:cubicBezTo>
                    <a:pt x="7" y="54"/>
                    <a:pt x="7" y="53"/>
                    <a:pt x="6" y="52"/>
                  </a:cubicBezTo>
                  <a:cubicBezTo>
                    <a:pt x="8" y="51"/>
                    <a:pt x="8" y="49"/>
                    <a:pt x="8" y="47"/>
                  </a:cubicBezTo>
                  <a:cubicBezTo>
                    <a:pt x="7" y="46"/>
                    <a:pt x="5" y="44"/>
                    <a:pt x="3" y="44"/>
                  </a:cubicBezTo>
                  <a:cubicBezTo>
                    <a:pt x="3" y="44"/>
                    <a:pt x="3" y="43"/>
                    <a:pt x="3" y="43"/>
                  </a:cubicBezTo>
                  <a:cubicBezTo>
                    <a:pt x="3" y="42"/>
                    <a:pt x="3" y="42"/>
                    <a:pt x="3" y="41"/>
                  </a:cubicBezTo>
                  <a:cubicBezTo>
                    <a:pt x="5" y="41"/>
                    <a:pt x="7" y="40"/>
                    <a:pt x="8" y="38"/>
                  </a:cubicBezTo>
                  <a:cubicBezTo>
                    <a:pt x="8" y="36"/>
                    <a:pt x="8" y="34"/>
                    <a:pt x="6" y="33"/>
                  </a:cubicBezTo>
                  <a:cubicBezTo>
                    <a:pt x="7" y="32"/>
                    <a:pt x="7" y="31"/>
                    <a:pt x="8" y="30"/>
                  </a:cubicBezTo>
                  <a:cubicBezTo>
                    <a:pt x="9" y="31"/>
                    <a:pt x="12" y="31"/>
                    <a:pt x="13" y="30"/>
                  </a:cubicBezTo>
                  <a:cubicBezTo>
                    <a:pt x="15" y="29"/>
                    <a:pt x="15" y="27"/>
                    <a:pt x="15" y="25"/>
                  </a:cubicBezTo>
                  <a:cubicBezTo>
                    <a:pt x="16" y="25"/>
                    <a:pt x="17" y="24"/>
                    <a:pt x="18" y="24"/>
                  </a:cubicBezTo>
                  <a:cubicBezTo>
                    <a:pt x="19" y="26"/>
                    <a:pt x="20" y="27"/>
                    <a:pt x="22" y="27"/>
                  </a:cubicBezTo>
                  <a:cubicBezTo>
                    <a:pt x="24" y="27"/>
                    <a:pt x="26" y="26"/>
                    <a:pt x="27" y="24"/>
                  </a:cubicBezTo>
                  <a:cubicBezTo>
                    <a:pt x="28" y="24"/>
                    <a:pt x="29" y="25"/>
                    <a:pt x="30" y="25"/>
                  </a:cubicBezTo>
                  <a:cubicBezTo>
                    <a:pt x="29" y="27"/>
                    <a:pt x="30" y="29"/>
                    <a:pt x="31" y="30"/>
                  </a:cubicBezTo>
                  <a:cubicBezTo>
                    <a:pt x="33" y="31"/>
                    <a:pt x="35" y="31"/>
                    <a:pt x="37" y="30"/>
                  </a:cubicBezTo>
                  <a:cubicBezTo>
                    <a:pt x="37" y="31"/>
                    <a:pt x="38" y="32"/>
                    <a:pt x="39" y="33"/>
                  </a:cubicBezTo>
                  <a:cubicBezTo>
                    <a:pt x="37" y="34"/>
                    <a:pt x="36" y="36"/>
                    <a:pt x="37" y="38"/>
                  </a:cubicBezTo>
                  <a:cubicBezTo>
                    <a:pt x="38" y="40"/>
                    <a:pt x="39" y="41"/>
                    <a:pt x="41" y="41"/>
                  </a:cubicBezTo>
                  <a:cubicBezTo>
                    <a:pt x="41" y="42"/>
                    <a:pt x="41" y="42"/>
                    <a:pt x="41" y="43"/>
                  </a:cubicBezTo>
                  <a:cubicBezTo>
                    <a:pt x="41" y="43"/>
                    <a:pt x="41" y="44"/>
                    <a:pt x="41" y="44"/>
                  </a:cubicBezTo>
                  <a:cubicBezTo>
                    <a:pt x="39" y="44"/>
                    <a:pt x="38" y="46"/>
                    <a:pt x="37" y="47"/>
                  </a:cubicBezTo>
                  <a:close/>
                  <a:moveTo>
                    <a:pt x="62" y="12"/>
                  </a:moveTo>
                  <a:cubicBezTo>
                    <a:pt x="62" y="12"/>
                    <a:pt x="61" y="11"/>
                    <a:pt x="61" y="11"/>
                  </a:cubicBezTo>
                  <a:cubicBezTo>
                    <a:pt x="60" y="11"/>
                    <a:pt x="60" y="10"/>
                    <a:pt x="60" y="10"/>
                  </a:cubicBezTo>
                  <a:cubicBezTo>
                    <a:pt x="60" y="10"/>
                    <a:pt x="59" y="10"/>
                    <a:pt x="59" y="1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60" y="10"/>
                    <a:pt x="60" y="9"/>
                    <a:pt x="60" y="9"/>
                  </a:cubicBezTo>
                  <a:cubicBezTo>
                    <a:pt x="60" y="8"/>
                    <a:pt x="60" y="8"/>
                    <a:pt x="60" y="7"/>
                  </a:cubicBezTo>
                  <a:cubicBezTo>
                    <a:pt x="59" y="6"/>
                    <a:pt x="59" y="5"/>
                    <a:pt x="58" y="4"/>
                  </a:cubicBezTo>
                  <a:cubicBezTo>
                    <a:pt x="57" y="4"/>
                    <a:pt x="57" y="3"/>
                    <a:pt x="56" y="3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3"/>
                    <a:pt x="55" y="4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5" y="3"/>
                    <a:pt x="55" y="3"/>
                    <a:pt x="55" y="2"/>
                  </a:cubicBezTo>
                  <a:cubicBezTo>
                    <a:pt x="54" y="2"/>
                    <a:pt x="54" y="1"/>
                    <a:pt x="54" y="1"/>
                  </a:cubicBezTo>
                  <a:cubicBezTo>
                    <a:pt x="52" y="0"/>
                    <a:pt x="51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8" y="0"/>
                  </a:cubicBezTo>
                  <a:cubicBezTo>
                    <a:pt x="48" y="1"/>
                    <a:pt x="48" y="1"/>
                    <a:pt x="48" y="2"/>
                  </a:cubicBezTo>
                  <a:cubicBezTo>
                    <a:pt x="48" y="2"/>
                    <a:pt x="47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1"/>
                    <a:pt x="47" y="1"/>
                    <a:pt x="46" y="0"/>
                  </a:cubicBezTo>
                  <a:cubicBezTo>
                    <a:pt x="46" y="0"/>
                    <a:pt x="45" y="0"/>
                    <a:pt x="4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3" y="0"/>
                    <a:pt x="42" y="0"/>
                    <a:pt x="41" y="1"/>
                  </a:cubicBezTo>
                  <a:cubicBezTo>
                    <a:pt x="40" y="1"/>
                    <a:pt x="40" y="2"/>
                    <a:pt x="40" y="2"/>
                  </a:cubicBezTo>
                  <a:cubicBezTo>
                    <a:pt x="40" y="3"/>
                    <a:pt x="40" y="3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9" y="4"/>
                    <a:pt x="39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7" y="4"/>
                    <a:pt x="37" y="4"/>
                  </a:cubicBezTo>
                  <a:cubicBezTo>
                    <a:pt x="36" y="5"/>
                    <a:pt x="35" y="6"/>
                    <a:pt x="35" y="7"/>
                  </a:cubicBezTo>
                  <a:cubicBezTo>
                    <a:pt x="34" y="8"/>
                    <a:pt x="34" y="8"/>
                    <a:pt x="34" y="9"/>
                  </a:cubicBezTo>
                  <a:cubicBezTo>
                    <a:pt x="35" y="9"/>
                    <a:pt x="35" y="10"/>
                    <a:pt x="35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4" y="11"/>
                    <a:pt x="34" y="11"/>
                  </a:cubicBezTo>
                  <a:cubicBezTo>
                    <a:pt x="33" y="11"/>
                    <a:pt x="33" y="12"/>
                    <a:pt x="33" y="12"/>
                  </a:cubicBezTo>
                  <a:cubicBezTo>
                    <a:pt x="33" y="13"/>
                    <a:pt x="33" y="13"/>
                    <a:pt x="33" y="14"/>
                  </a:cubicBezTo>
                  <a:cubicBezTo>
                    <a:pt x="33" y="15"/>
                    <a:pt x="33" y="15"/>
                    <a:pt x="33" y="16"/>
                  </a:cubicBezTo>
                  <a:cubicBezTo>
                    <a:pt x="33" y="17"/>
                    <a:pt x="33" y="17"/>
                    <a:pt x="34" y="17"/>
                  </a:cubicBezTo>
                  <a:cubicBezTo>
                    <a:pt x="34" y="18"/>
                    <a:pt x="34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6" y="18"/>
                    <a:pt x="36" y="18"/>
                  </a:cubicBezTo>
                  <a:cubicBezTo>
                    <a:pt x="36" y="18"/>
                    <a:pt x="36" y="18"/>
                    <a:pt x="35" y="18"/>
                  </a:cubicBezTo>
                  <a:cubicBezTo>
                    <a:pt x="35" y="18"/>
                    <a:pt x="35" y="19"/>
                    <a:pt x="34" y="19"/>
                  </a:cubicBezTo>
                  <a:cubicBezTo>
                    <a:pt x="34" y="20"/>
                    <a:pt x="34" y="20"/>
                    <a:pt x="35" y="21"/>
                  </a:cubicBezTo>
                  <a:cubicBezTo>
                    <a:pt x="35" y="22"/>
                    <a:pt x="36" y="23"/>
                    <a:pt x="37" y="24"/>
                  </a:cubicBezTo>
                  <a:cubicBezTo>
                    <a:pt x="37" y="24"/>
                    <a:pt x="38" y="25"/>
                    <a:pt x="38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9" y="25"/>
                    <a:pt x="39" y="24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5"/>
                    <a:pt x="40" y="25"/>
                    <a:pt x="40" y="26"/>
                  </a:cubicBezTo>
                  <a:cubicBezTo>
                    <a:pt x="40" y="26"/>
                    <a:pt x="40" y="27"/>
                    <a:pt x="41" y="27"/>
                  </a:cubicBezTo>
                  <a:cubicBezTo>
                    <a:pt x="42" y="28"/>
                    <a:pt x="43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6" y="28"/>
                    <a:pt x="46" y="28"/>
                  </a:cubicBezTo>
                  <a:cubicBezTo>
                    <a:pt x="47" y="28"/>
                    <a:pt x="47" y="27"/>
                    <a:pt x="47" y="27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8" y="26"/>
                    <a:pt x="48" y="27"/>
                  </a:cubicBezTo>
                  <a:cubicBezTo>
                    <a:pt x="48" y="27"/>
                    <a:pt x="48" y="28"/>
                    <a:pt x="48" y="28"/>
                  </a:cubicBezTo>
                  <a:cubicBezTo>
                    <a:pt x="49" y="28"/>
                    <a:pt x="49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2" y="28"/>
                    <a:pt x="54" y="27"/>
                  </a:cubicBezTo>
                  <a:cubicBezTo>
                    <a:pt x="54" y="27"/>
                    <a:pt x="54" y="26"/>
                    <a:pt x="55" y="26"/>
                  </a:cubicBezTo>
                  <a:cubicBezTo>
                    <a:pt x="55" y="25"/>
                    <a:pt x="55" y="25"/>
                    <a:pt x="54" y="24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4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5"/>
                    <a:pt x="57" y="24"/>
                    <a:pt x="58" y="24"/>
                  </a:cubicBezTo>
                  <a:cubicBezTo>
                    <a:pt x="59" y="23"/>
                    <a:pt x="59" y="22"/>
                    <a:pt x="60" y="21"/>
                  </a:cubicBezTo>
                  <a:cubicBezTo>
                    <a:pt x="60" y="20"/>
                    <a:pt x="60" y="20"/>
                    <a:pt x="60" y="19"/>
                  </a:cubicBezTo>
                  <a:cubicBezTo>
                    <a:pt x="60" y="19"/>
                    <a:pt x="60" y="18"/>
                    <a:pt x="59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9" y="18"/>
                    <a:pt x="59" y="18"/>
                    <a:pt x="60" y="18"/>
                  </a:cubicBezTo>
                  <a:cubicBezTo>
                    <a:pt x="60" y="18"/>
                    <a:pt x="60" y="18"/>
                    <a:pt x="61" y="17"/>
                  </a:cubicBezTo>
                  <a:cubicBezTo>
                    <a:pt x="61" y="17"/>
                    <a:pt x="62" y="17"/>
                    <a:pt x="62" y="16"/>
                  </a:cubicBezTo>
                  <a:cubicBezTo>
                    <a:pt x="62" y="15"/>
                    <a:pt x="62" y="15"/>
                    <a:pt x="62" y="14"/>
                  </a:cubicBezTo>
                  <a:cubicBezTo>
                    <a:pt x="62" y="13"/>
                    <a:pt x="62" y="13"/>
                    <a:pt x="62" y="12"/>
                  </a:cubicBezTo>
                  <a:close/>
                  <a:moveTo>
                    <a:pt x="59" y="15"/>
                  </a:moveTo>
                  <a:cubicBezTo>
                    <a:pt x="58" y="15"/>
                    <a:pt x="56" y="16"/>
                    <a:pt x="56" y="17"/>
                  </a:cubicBezTo>
                  <a:cubicBezTo>
                    <a:pt x="56" y="18"/>
                    <a:pt x="56" y="19"/>
                    <a:pt x="57" y="20"/>
                  </a:cubicBezTo>
                  <a:cubicBezTo>
                    <a:pt x="57" y="21"/>
                    <a:pt x="56" y="21"/>
                    <a:pt x="56" y="21"/>
                  </a:cubicBezTo>
                  <a:cubicBezTo>
                    <a:pt x="55" y="21"/>
                    <a:pt x="54" y="21"/>
                    <a:pt x="53" y="22"/>
                  </a:cubicBezTo>
                  <a:cubicBezTo>
                    <a:pt x="52" y="22"/>
                    <a:pt x="51" y="24"/>
                    <a:pt x="51" y="25"/>
                  </a:cubicBezTo>
                  <a:cubicBezTo>
                    <a:pt x="51" y="25"/>
                    <a:pt x="51" y="25"/>
                    <a:pt x="50" y="25"/>
                  </a:cubicBezTo>
                  <a:cubicBezTo>
                    <a:pt x="50" y="24"/>
                    <a:pt x="49" y="23"/>
                    <a:pt x="47" y="23"/>
                  </a:cubicBezTo>
                  <a:cubicBezTo>
                    <a:pt x="46" y="23"/>
                    <a:pt x="45" y="24"/>
                    <a:pt x="44" y="25"/>
                  </a:cubicBezTo>
                  <a:cubicBezTo>
                    <a:pt x="44" y="25"/>
                    <a:pt x="44" y="25"/>
                    <a:pt x="43" y="25"/>
                  </a:cubicBezTo>
                  <a:cubicBezTo>
                    <a:pt x="43" y="24"/>
                    <a:pt x="43" y="22"/>
                    <a:pt x="42" y="22"/>
                  </a:cubicBezTo>
                  <a:cubicBezTo>
                    <a:pt x="41" y="21"/>
                    <a:pt x="39" y="21"/>
                    <a:pt x="38" y="21"/>
                  </a:cubicBezTo>
                  <a:cubicBezTo>
                    <a:pt x="38" y="21"/>
                    <a:pt x="38" y="21"/>
                    <a:pt x="38" y="20"/>
                  </a:cubicBezTo>
                  <a:cubicBezTo>
                    <a:pt x="39" y="19"/>
                    <a:pt x="39" y="18"/>
                    <a:pt x="38" y="17"/>
                  </a:cubicBezTo>
                  <a:cubicBezTo>
                    <a:pt x="38" y="16"/>
                    <a:pt x="37" y="15"/>
                    <a:pt x="36" y="15"/>
                  </a:cubicBezTo>
                  <a:cubicBezTo>
                    <a:pt x="36" y="15"/>
                    <a:pt x="36" y="14"/>
                    <a:pt x="36" y="14"/>
                  </a:cubicBezTo>
                  <a:cubicBezTo>
                    <a:pt x="36" y="14"/>
                    <a:pt x="36" y="14"/>
                    <a:pt x="36" y="13"/>
                  </a:cubicBezTo>
                  <a:cubicBezTo>
                    <a:pt x="37" y="13"/>
                    <a:pt x="38" y="12"/>
                    <a:pt x="38" y="11"/>
                  </a:cubicBezTo>
                  <a:cubicBezTo>
                    <a:pt x="39" y="10"/>
                    <a:pt x="39" y="9"/>
                    <a:pt x="38" y="8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9" y="7"/>
                    <a:pt x="41" y="7"/>
                    <a:pt x="42" y="7"/>
                  </a:cubicBezTo>
                  <a:cubicBezTo>
                    <a:pt x="43" y="6"/>
                    <a:pt x="43" y="5"/>
                    <a:pt x="43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5" y="4"/>
                    <a:pt x="46" y="5"/>
                    <a:pt x="47" y="5"/>
                  </a:cubicBezTo>
                  <a:cubicBezTo>
                    <a:pt x="49" y="5"/>
                    <a:pt x="50" y="4"/>
                    <a:pt x="50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5"/>
                    <a:pt x="52" y="6"/>
                    <a:pt x="53" y="7"/>
                  </a:cubicBezTo>
                  <a:cubicBezTo>
                    <a:pt x="54" y="7"/>
                    <a:pt x="55" y="7"/>
                    <a:pt x="56" y="7"/>
                  </a:cubicBezTo>
                  <a:cubicBezTo>
                    <a:pt x="56" y="7"/>
                    <a:pt x="57" y="7"/>
                    <a:pt x="57" y="8"/>
                  </a:cubicBezTo>
                  <a:cubicBezTo>
                    <a:pt x="56" y="9"/>
                    <a:pt x="56" y="10"/>
                    <a:pt x="56" y="11"/>
                  </a:cubicBezTo>
                  <a:cubicBezTo>
                    <a:pt x="56" y="12"/>
                    <a:pt x="58" y="13"/>
                    <a:pt x="59" y="13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47"/>
            </a:p>
          </p:txBody>
        </p:sp>
        <p:sp>
          <p:nvSpPr>
            <p:cNvPr id="435" name="Freeform 238">
              <a:extLst>
                <a:ext uri="{FF2B5EF4-FFF2-40B4-BE49-F238E27FC236}">
                  <a16:creationId xmlns:a16="http://schemas.microsoft.com/office/drawing/2014/main" id="{F1AA03BF-9652-4814-BC5F-EB6C346D65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5749" y="3240851"/>
              <a:ext cx="233616" cy="162102"/>
            </a:xfrm>
            <a:custGeom>
              <a:avLst/>
              <a:gdLst>
                <a:gd name="T0" fmla="*/ 60 w 71"/>
                <a:gd name="T1" fmla="*/ 1 h 50"/>
                <a:gd name="T2" fmla="*/ 53 w 71"/>
                <a:gd name="T3" fmla="*/ 4 h 50"/>
                <a:gd name="T4" fmla="*/ 40 w 71"/>
                <a:gd name="T5" fmla="*/ 1 h 50"/>
                <a:gd name="T6" fmla="*/ 29 w 71"/>
                <a:gd name="T7" fmla="*/ 2 h 50"/>
                <a:gd name="T8" fmla="*/ 22 w 71"/>
                <a:gd name="T9" fmla="*/ 4 h 50"/>
                <a:gd name="T10" fmla="*/ 11 w 71"/>
                <a:gd name="T11" fmla="*/ 2 h 50"/>
                <a:gd name="T12" fmla="*/ 0 w 71"/>
                <a:gd name="T13" fmla="*/ 21 h 50"/>
                <a:gd name="T14" fmla="*/ 6 w 71"/>
                <a:gd name="T15" fmla="*/ 25 h 50"/>
                <a:gd name="T16" fmla="*/ 12 w 71"/>
                <a:gd name="T17" fmla="*/ 32 h 50"/>
                <a:gd name="T18" fmla="*/ 16 w 71"/>
                <a:gd name="T19" fmla="*/ 37 h 50"/>
                <a:gd name="T20" fmla="*/ 17 w 71"/>
                <a:gd name="T21" fmla="*/ 42 h 50"/>
                <a:gd name="T22" fmla="*/ 21 w 71"/>
                <a:gd name="T23" fmla="*/ 43 h 50"/>
                <a:gd name="T24" fmla="*/ 22 w 71"/>
                <a:gd name="T25" fmla="*/ 46 h 50"/>
                <a:gd name="T26" fmla="*/ 27 w 71"/>
                <a:gd name="T27" fmla="*/ 46 h 50"/>
                <a:gd name="T28" fmla="*/ 31 w 71"/>
                <a:gd name="T29" fmla="*/ 50 h 50"/>
                <a:gd name="T30" fmla="*/ 36 w 71"/>
                <a:gd name="T31" fmla="*/ 46 h 50"/>
                <a:gd name="T32" fmla="*/ 40 w 71"/>
                <a:gd name="T33" fmla="*/ 49 h 50"/>
                <a:gd name="T34" fmla="*/ 44 w 71"/>
                <a:gd name="T35" fmla="*/ 45 h 50"/>
                <a:gd name="T36" fmla="*/ 49 w 71"/>
                <a:gd name="T37" fmla="*/ 45 h 50"/>
                <a:gd name="T38" fmla="*/ 52 w 71"/>
                <a:gd name="T39" fmla="*/ 42 h 50"/>
                <a:gd name="T40" fmla="*/ 55 w 71"/>
                <a:gd name="T41" fmla="*/ 36 h 50"/>
                <a:gd name="T42" fmla="*/ 59 w 71"/>
                <a:gd name="T43" fmla="*/ 30 h 50"/>
                <a:gd name="T44" fmla="*/ 66 w 71"/>
                <a:gd name="T45" fmla="*/ 24 h 50"/>
                <a:gd name="T46" fmla="*/ 71 w 71"/>
                <a:gd name="T47" fmla="*/ 21 h 50"/>
                <a:gd name="T48" fmla="*/ 17 w 71"/>
                <a:gd name="T49" fmla="*/ 35 h 50"/>
                <a:gd name="T50" fmla="*/ 15 w 71"/>
                <a:gd name="T51" fmla="*/ 35 h 50"/>
                <a:gd name="T52" fmla="*/ 14 w 71"/>
                <a:gd name="T53" fmla="*/ 33 h 50"/>
                <a:gd name="T54" fmla="*/ 23 w 71"/>
                <a:gd name="T55" fmla="*/ 23 h 50"/>
                <a:gd name="T56" fmla="*/ 26 w 71"/>
                <a:gd name="T57" fmla="*/ 23 h 50"/>
                <a:gd name="T58" fmla="*/ 26 w 71"/>
                <a:gd name="T59" fmla="*/ 26 h 50"/>
                <a:gd name="T60" fmla="*/ 17 w 71"/>
                <a:gd name="T61" fmla="*/ 35 h 50"/>
                <a:gd name="T62" fmla="*/ 18 w 71"/>
                <a:gd name="T63" fmla="*/ 40 h 50"/>
                <a:gd name="T64" fmla="*/ 18 w 71"/>
                <a:gd name="T65" fmla="*/ 37 h 50"/>
                <a:gd name="T66" fmla="*/ 27 w 71"/>
                <a:gd name="T67" fmla="*/ 29 h 50"/>
                <a:gd name="T68" fmla="*/ 30 w 71"/>
                <a:gd name="T69" fmla="*/ 29 h 50"/>
                <a:gd name="T70" fmla="*/ 23 w 71"/>
                <a:gd name="T71" fmla="*/ 38 h 50"/>
                <a:gd name="T72" fmla="*/ 26 w 71"/>
                <a:gd name="T73" fmla="*/ 44 h 50"/>
                <a:gd name="T74" fmla="*/ 23 w 71"/>
                <a:gd name="T75" fmla="*/ 43 h 50"/>
                <a:gd name="T76" fmla="*/ 28 w 71"/>
                <a:gd name="T77" fmla="*/ 37 h 50"/>
                <a:gd name="T78" fmla="*/ 33 w 71"/>
                <a:gd name="T79" fmla="*/ 32 h 50"/>
                <a:gd name="T80" fmla="*/ 35 w 71"/>
                <a:gd name="T81" fmla="*/ 34 h 50"/>
                <a:gd name="T82" fmla="*/ 30 w 71"/>
                <a:gd name="T83" fmla="*/ 40 h 50"/>
                <a:gd name="T84" fmla="*/ 41 w 71"/>
                <a:gd name="T85" fmla="*/ 39 h 50"/>
                <a:gd name="T86" fmla="*/ 33 w 71"/>
                <a:gd name="T87" fmla="*/ 47 h 50"/>
                <a:gd name="T88" fmla="*/ 29 w 71"/>
                <a:gd name="T89" fmla="*/ 46 h 50"/>
                <a:gd name="T90" fmla="*/ 32 w 71"/>
                <a:gd name="T91" fmla="*/ 42 h 50"/>
                <a:gd name="T92" fmla="*/ 40 w 71"/>
                <a:gd name="T93" fmla="*/ 35 h 50"/>
                <a:gd name="T94" fmla="*/ 42 w 71"/>
                <a:gd name="T95" fmla="*/ 37 h 50"/>
                <a:gd name="T96" fmla="*/ 65 w 71"/>
                <a:gd name="T97" fmla="*/ 21 h 50"/>
                <a:gd name="T98" fmla="*/ 57 w 71"/>
                <a:gd name="T99" fmla="*/ 28 h 50"/>
                <a:gd name="T100" fmla="*/ 47 w 71"/>
                <a:gd name="T101" fmla="*/ 19 h 50"/>
                <a:gd name="T102" fmla="*/ 42 w 71"/>
                <a:gd name="T103" fmla="*/ 15 h 50"/>
                <a:gd name="T104" fmla="*/ 41 w 71"/>
                <a:gd name="T105" fmla="*/ 13 h 50"/>
                <a:gd name="T106" fmla="*/ 39 w 71"/>
                <a:gd name="T107" fmla="*/ 14 h 50"/>
                <a:gd name="T108" fmla="*/ 31 w 71"/>
                <a:gd name="T109" fmla="*/ 19 h 50"/>
                <a:gd name="T110" fmla="*/ 26 w 71"/>
                <a:gd name="T111" fmla="*/ 16 h 50"/>
                <a:gd name="T112" fmla="*/ 27 w 71"/>
                <a:gd name="T113" fmla="*/ 15 h 50"/>
                <a:gd name="T114" fmla="*/ 41 w 71"/>
                <a:gd name="T115" fmla="*/ 4 h 50"/>
                <a:gd name="T116" fmla="*/ 53 w 71"/>
                <a:gd name="T117" fmla="*/ 7 h 50"/>
                <a:gd name="T118" fmla="*/ 67 w 71"/>
                <a:gd name="T119" fmla="*/ 2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1" h="50">
                  <a:moveTo>
                    <a:pt x="62" y="0"/>
                  </a:moveTo>
                  <a:cubicBezTo>
                    <a:pt x="60" y="1"/>
                    <a:pt x="60" y="1"/>
                    <a:pt x="60" y="1"/>
                  </a:cubicBezTo>
                  <a:cubicBezTo>
                    <a:pt x="59" y="2"/>
                    <a:pt x="56" y="4"/>
                    <a:pt x="53" y="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2" y="4"/>
                    <a:pt x="49" y="3"/>
                    <a:pt x="46" y="2"/>
                  </a:cubicBezTo>
                  <a:cubicBezTo>
                    <a:pt x="42" y="1"/>
                    <a:pt x="41" y="1"/>
                    <a:pt x="40" y="1"/>
                  </a:cubicBezTo>
                  <a:cubicBezTo>
                    <a:pt x="40" y="1"/>
                    <a:pt x="38" y="2"/>
                    <a:pt x="36" y="4"/>
                  </a:cubicBezTo>
                  <a:cubicBezTo>
                    <a:pt x="34" y="3"/>
                    <a:pt x="31" y="2"/>
                    <a:pt x="29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6" y="2"/>
                    <a:pt x="24" y="3"/>
                    <a:pt x="22" y="4"/>
                  </a:cubicBezTo>
                  <a:cubicBezTo>
                    <a:pt x="20" y="4"/>
                    <a:pt x="19" y="5"/>
                    <a:pt x="18" y="5"/>
                  </a:cubicBezTo>
                  <a:cubicBezTo>
                    <a:pt x="17" y="5"/>
                    <a:pt x="14" y="3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2" y="22"/>
                    <a:pt x="5" y="24"/>
                    <a:pt x="6" y="25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8" y="27"/>
                    <a:pt x="10" y="29"/>
                    <a:pt x="12" y="32"/>
                  </a:cubicBezTo>
                  <a:cubicBezTo>
                    <a:pt x="12" y="33"/>
                    <a:pt x="12" y="35"/>
                    <a:pt x="13" y="36"/>
                  </a:cubicBezTo>
                  <a:cubicBezTo>
                    <a:pt x="14" y="37"/>
                    <a:pt x="15" y="37"/>
                    <a:pt x="16" y="37"/>
                  </a:cubicBezTo>
                  <a:cubicBezTo>
                    <a:pt x="16" y="38"/>
                    <a:pt x="16" y="38"/>
                    <a:pt x="16" y="39"/>
                  </a:cubicBezTo>
                  <a:cubicBezTo>
                    <a:pt x="16" y="40"/>
                    <a:pt x="16" y="41"/>
                    <a:pt x="17" y="42"/>
                  </a:cubicBezTo>
                  <a:cubicBezTo>
                    <a:pt x="18" y="42"/>
                    <a:pt x="19" y="43"/>
                    <a:pt x="20" y="43"/>
                  </a:cubicBezTo>
                  <a:cubicBezTo>
                    <a:pt x="20" y="43"/>
                    <a:pt x="20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4"/>
                    <a:pt x="21" y="45"/>
                    <a:pt x="22" y="46"/>
                  </a:cubicBezTo>
                  <a:cubicBezTo>
                    <a:pt x="23" y="47"/>
                    <a:pt x="24" y="47"/>
                    <a:pt x="25" y="47"/>
                  </a:cubicBezTo>
                  <a:cubicBezTo>
                    <a:pt x="26" y="47"/>
                    <a:pt x="27" y="47"/>
                    <a:pt x="27" y="46"/>
                  </a:cubicBezTo>
                  <a:cubicBezTo>
                    <a:pt x="27" y="47"/>
                    <a:pt x="28" y="48"/>
                    <a:pt x="28" y="49"/>
                  </a:cubicBezTo>
                  <a:cubicBezTo>
                    <a:pt x="29" y="49"/>
                    <a:pt x="30" y="50"/>
                    <a:pt x="31" y="50"/>
                  </a:cubicBezTo>
                  <a:cubicBezTo>
                    <a:pt x="32" y="50"/>
                    <a:pt x="33" y="49"/>
                    <a:pt x="34" y="49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8" y="48"/>
                    <a:pt x="39" y="49"/>
                    <a:pt x="40" y="49"/>
                  </a:cubicBezTo>
                  <a:cubicBezTo>
                    <a:pt x="41" y="49"/>
                    <a:pt x="42" y="48"/>
                    <a:pt x="43" y="48"/>
                  </a:cubicBezTo>
                  <a:cubicBezTo>
                    <a:pt x="44" y="47"/>
                    <a:pt x="44" y="46"/>
                    <a:pt x="44" y="45"/>
                  </a:cubicBezTo>
                  <a:cubicBezTo>
                    <a:pt x="45" y="46"/>
                    <a:pt x="46" y="46"/>
                    <a:pt x="46" y="46"/>
                  </a:cubicBezTo>
                  <a:cubicBezTo>
                    <a:pt x="48" y="46"/>
                    <a:pt x="49" y="46"/>
                    <a:pt x="49" y="45"/>
                  </a:cubicBezTo>
                  <a:cubicBezTo>
                    <a:pt x="50" y="44"/>
                    <a:pt x="51" y="43"/>
                    <a:pt x="50" y="42"/>
                  </a:cubicBezTo>
                  <a:cubicBezTo>
                    <a:pt x="51" y="42"/>
                    <a:pt x="51" y="42"/>
                    <a:pt x="52" y="42"/>
                  </a:cubicBezTo>
                  <a:cubicBezTo>
                    <a:pt x="53" y="42"/>
                    <a:pt x="54" y="42"/>
                    <a:pt x="55" y="41"/>
                  </a:cubicBezTo>
                  <a:cubicBezTo>
                    <a:pt x="56" y="40"/>
                    <a:pt x="56" y="38"/>
                    <a:pt x="55" y="36"/>
                  </a:cubicBezTo>
                  <a:cubicBezTo>
                    <a:pt x="56" y="36"/>
                    <a:pt x="57" y="36"/>
                    <a:pt x="58" y="35"/>
                  </a:cubicBezTo>
                  <a:cubicBezTo>
                    <a:pt x="59" y="34"/>
                    <a:pt x="60" y="32"/>
                    <a:pt x="59" y="30"/>
                  </a:cubicBezTo>
                  <a:cubicBezTo>
                    <a:pt x="60" y="29"/>
                    <a:pt x="61" y="28"/>
                    <a:pt x="62" y="28"/>
                  </a:cubicBezTo>
                  <a:cubicBezTo>
                    <a:pt x="63" y="26"/>
                    <a:pt x="65" y="24"/>
                    <a:pt x="66" y="24"/>
                  </a:cubicBezTo>
                  <a:cubicBezTo>
                    <a:pt x="67" y="23"/>
                    <a:pt x="69" y="22"/>
                    <a:pt x="70" y="22"/>
                  </a:cubicBezTo>
                  <a:cubicBezTo>
                    <a:pt x="71" y="21"/>
                    <a:pt x="71" y="21"/>
                    <a:pt x="71" y="21"/>
                  </a:cubicBezTo>
                  <a:lnTo>
                    <a:pt x="62" y="0"/>
                  </a:lnTo>
                  <a:close/>
                  <a:moveTo>
                    <a:pt x="17" y="35"/>
                  </a:moveTo>
                  <a:cubicBezTo>
                    <a:pt x="17" y="35"/>
                    <a:pt x="16" y="35"/>
                    <a:pt x="16" y="35"/>
                  </a:cubicBezTo>
                  <a:cubicBezTo>
                    <a:pt x="16" y="35"/>
                    <a:pt x="15" y="35"/>
                    <a:pt x="15" y="35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3"/>
                    <a:pt x="14" y="32"/>
                    <a:pt x="15" y="32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4" y="23"/>
                    <a:pt x="24" y="23"/>
                  </a:cubicBezTo>
                  <a:cubicBezTo>
                    <a:pt x="25" y="23"/>
                    <a:pt x="26" y="23"/>
                    <a:pt x="26" y="23"/>
                  </a:cubicBezTo>
                  <a:cubicBezTo>
                    <a:pt x="26" y="24"/>
                    <a:pt x="26" y="24"/>
                    <a:pt x="26" y="25"/>
                  </a:cubicBezTo>
                  <a:cubicBezTo>
                    <a:pt x="26" y="25"/>
                    <a:pt x="26" y="26"/>
                    <a:pt x="26" y="26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7" y="35"/>
                    <a:pt x="17" y="35"/>
                    <a:pt x="17" y="35"/>
                  </a:cubicBezTo>
                  <a:close/>
                  <a:moveTo>
                    <a:pt x="21" y="40"/>
                  </a:moveTo>
                  <a:cubicBezTo>
                    <a:pt x="20" y="41"/>
                    <a:pt x="19" y="41"/>
                    <a:pt x="18" y="40"/>
                  </a:cubicBezTo>
                  <a:cubicBezTo>
                    <a:pt x="18" y="40"/>
                    <a:pt x="18" y="39"/>
                    <a:pt x="18" y="39"/>
                  </a:cubicBezTo>
                  <a:cubicBezTo>
                    <a:pt x="18" y="38"/>
                    <a:pt x="18" y="38"/>
                    <a:pt x="18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8" y="28"/>
                    <a:pt x="28" y="28"/>
                  </a:cubicBezTo>
                  <a:cubicBezTo>
                    <a:pt x="29" y="28"/>
                    <a:pt x="29" y="29"/>
                    <a:pt x="30" y="29"/>
                  </a:cubicBezTo>
                  <a:cubicBezTo>
                    <a:pt x="30" y="30"/>
                    <a:pt x="30" y="31"/>
                    <a:pt x="30" y="32"/>
                  </a:cubicBezTo>
                  <a:cubicBezTo>
                    <a:pt x="23" y="38"/>
                    <a:pt x="23" y="38"/>
                    <a:pt x="23" y="38"/>
                  </a:cubicBezTo>
                  <a:lnTo>
                    <a:pt x="21" y="40"/>
                  </a:lnTo>
                  <a:close/>
                  <a:moveTo>
                    <a:pt x="26" y="44"/>
                  </a:moveTo>
                  <a:cubicBezTo>
                    <a:pt x="26" y="45"/>
                    <a:pt x="24" y="45"/>
                    <a:pt x="23" y="44"/>
                  </a:cubicBezTo>
                  <a:cubicBezTo>
                    <a:pt x="23" y="44"/>
                    <a:pt x="23" y="43"/>
                    <a:pt x="23" y="43"/>
                  </a:cubicBezTo>
                  <a:cubicBezTo>
                    <a:pt x="23" y="42"/>
                    <a:pt x="23" y="42"/>
                    <a:pt x="23" y="41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3" y="32"/>
                    <a:pt x="33" y="32"/>
                  </a:cubicBezTo>
                  <a:cubicBezTo>
                    <a:pt x="34" y="32"/>
                    <a:pt x="34" y="33"/>
                    <a:pt x="35" y="33"/>
                  </a:cubicBezTo>
                  <a:cubicBezTo>
                    <a:pt x="35" y="33"/>
                    <a:pt x="35" y="34"/>
                    <a:pt x="35" y="34"/>
                  </a:cubicBezTo>
                  <a:cubicBezTo>
                    <a:pt x="35" y="35"/>
                    <a:pt x="35" y="36"/>
                    <a:pt x="35" y="36"/>
                  </a:cubicBezTo>
                  <a:cubicBezTo>
                    <a:pt x="30" y="40"/>
                    <a:pt x="30" y="40"/>
                    <a:pt x="30" y="40"/>
                  </a:cubicBezTo>
                  <a:lnTo>
                    <a:pt x="26" y="44"/>
                  </a:lnTo>
                  <a:close/>
                  <a:moveTo>
                    <a:pt x="41" y="39"/>
                  </a:moveTo>
                  <a:cubicBezTo>
                    <a:pt x="35" y="45"/>
                    <a:pt x="35" y="45"/>
                    <a:pt x="35" y="45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2" y="48"/>
                    <a:pt x="31" y="48"/>
                    <a:pt x="30" y="47"/>
                  </a:cubicBezTo>
                  <a:cubicBezTo>
                    <a:pt x="29" y="47"/>
                    <a:pt x="29" y="46"/>
                    <a:pt x="29" y="46"/>
                  </a:cubicBezTo>
                  <a:cubicBezTo>
                    <a:pt x="29" y="45"/>
                    <a:pt x="29" y="45"/>
                    <a:pt x="30" y="44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9" y="35"/>
                    <a:pt x="39" y="35"/>
                    <a:pt x="40" y="35"/>
                  </a:cubicBezTo>
                  <a:cubicBezTo>
                    <a:pt x="40" y="35"/>
                    <a:pt x="41" y="35"/>
                    <a:pt x="41" y="36"/>
                  </a:cubicBezTo>
                  <a:cubicBezTo>
                    <a:pt x="41" y="36"/>
                    <a:pt x="42" y="37"/>
                    <a:pt x="42" y="37"/>
                  </a:cubicBezTo>
                  <a:cubicBezTo>
                    <a:pt x="42" y="38"/>
                    <a:pt x="41" y="38"/>
                    <a:pt x="41" y="39"/>
                  </a:cubicBezTo>
                  <a:close/>
                  <a:moveTo>
                    <a:pt x="65" y="21"/>
                  </a:moveTo>
                  <a:cubicBezTo>
                    <a:pt x="63" y="22"/>
                    <a:pt x="61" y="24"/>
                    <a:pt x="60" y="26"/>
                  </a:cubicBezTo>
                  <a:cubicBezTo>
                    <a:pt x="59" y="26"/>
                    <a:pt x="58" y="27"/>
                    <a:pt x="57" y="28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49" y="20"/>
                    <a:pt x="48" y="19"/>
                    <a:pt x="47" y="19"/>
                  </a:cubicBezTo>
                  <a:cubicBezTo>
                    <a:pt x="47" y="19"/>
                    <a:pt x="46" y="19"/>
                    <a:pt x="44" y="18"/>
                  </a:cubicBezTo>
                  <a:cubicBezTo>
                    <a:pt x="42" y="16"/>
                    <a:pt x="42" y="15"/>
                    <a:pt x="42" y="15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7" y="15"/>
                    <a:pt x="35" y="17"/>
                    <a:pt x="34" y="18"/>
                  </a:cubicBezTo>
                  <a:cubicBezTo>
                    <a:pt x="33" y="18"/>
                    <a:pt x="32" y="19"/>
                    <a:pt x="31" y="19"/>
                  </a:cubicBezTo>
                  <a:cubicBezTo>
                    <a:pt x="30" y="19"/>
                    <a:pt x="29" y="19"/>
                    <a:pt x="28" y="18"/>
                  </a:cubicBezTo>
                  <a:cubicBezTo>
                    <a:pt x="27" y="18"/>
                    <a:pt x="27" y="17"/>
                    <a:pt x="26" y="16"/>
                  </a:cubicBezTo>
                  <a:cubicBezTo>
                    <a:pt x="26" y="16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9" y="13"/>
                    <a:pt x="33" y="10"/>
                    <a:pt x="37" y="7"/>
                  </a:cubicBezTo>
                  <a:cubicBezTo>
                    <a:pt x="38" y="5"/>
                    <a:pt x="40" y="4"/>
                    <a:pt x="41" y="4"/>
                  </a:cubicBezTo>
                  <a:cubicBezTo>
                    <a:pt x="41" y="4"/>
                    <a:pt x="44" y="5"/>
                    <a:pt x="45" y="5"/>
                  </a:cubicBezTo>
                  <a:cubicBezTo>
                    <a:pt x="49" y="7"/>
                    <a:pt x="52" y="7"/>
                    <a:pt x="53" y="7"/>
                  </a:cubicBezTo>
                  <a:cubicBezTo>
                    <a:pt x="56" y="7"/>
                    <a:pt x="59" y="6"/>
                    <a:pt x="60" y="5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6" y="20"/>
                    <a:pt x="65" y="21"/>
                    <a:pt x="65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47"/>
            </a:p>
          </p:txBody>
        </p:sp>
        <p:sp>
          <p:nvSpPr>
            <p:cNvPr id="436" name="Title 1">
              <a:extLst>
                <a:ext uri="{FF2B5EF4-FFF2-40B4-BE49-F238E27FC236}">
                  <a16:creationId xmlns:a16="http://schemas.microsoft.com/office/drawing/2014/main" id="{9F3A6010-8344-4930-8435-AB3F80046C4F}"/>
                </a:ext>
              </a:extLst>
            </p:cNvPr>
            <p:cNvSpPr txBox="1"/>
            <p:nvPr/>
          </p:nvSpPr>
          <p:spPr>
            <a:xfrm>
              <a:off x="1509534" y="3156151"/>
              <a:ext cx="141139" cy="1237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id-ID" sz="747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37" name="Details 1">
              <a:extLst>
                <a:ext uri="{FF2B5EF4-FFF2-40B4-BE49-F238E27FC236}">
                  <a16:creationId xmlns:a16="http://schemas.microsoft.com/office/drawing/2014/main" id="{DF30A36A-1F7B-46A6-841E-2255692A55E3}"/>
                </a:ext>
              </a:extLst>
            </p:cNvPr>
            <p:cNvSpPr txBox="1"/>
            <p:nvPr/>
          </p:nvSpPr>
          <p:spPr>
            <a:xfrm>
              <a:off x="1509534" y="3304384"/>
              <a:ext cx="141139" cy="129636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pPr>
                <a:lnSpc>
                  <a:spcPts val="1118"/>
                </a:lnSpc>
              </a:pPr>
              <a:endParaRPr lang="en-US" sz="56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38" name="Details 1">
              <a:extLst>
                <a:ext uri="{FF2B5EF4-FFF2-40B4-BE49-F238E27FC236}">
                  <a16:creationId xmlns:a16="http://schemas.microsoft.com/office/drawing/2014/main" id="{C2A47967-3ABA-45BB-9583-3A3AF4591E31}"/>
                </a:ext>
              </a:extLst>
            </p:cNvPr>
            <p:cNvSpPr txBox="1"/>
            <p:nvPr/>
          </p:nvSpPr>
          <p:spPr>
            <a:xfrm>
              <a:off x="1509533" y="2860523"/>
              <a:ext cx="141139" cy="129636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pPr>
                <a:lnSpc>
                  <a:spcPts val="1118"/>
                </a:lnSpc>
              </a:pPr>
              <a:endParaRPr lang="en-US" sz="56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39" name="Title 1">
              <a:extLst>
                <a:ext uri="{FF2B5EF4-FFF2-40B4-BE49-F238E27FC236}">
                  <a16:creationId xmlns:a16="http://schemas.microsoft.com/office/drawing/2014/main" id="{216A476E-4ADD-46C5-BF3D-6496EE6FBB2C}"/>
                </a:ext>
              </a:extLst>
            </p:cNvPr>
            <p:cNvSpPr txBox="1"/>
            <p:nvPr/>
          </p:nvSpPr>
          <p:spPr>
            <a:xfrm>
              <a:off x="1509535" y="3600013"/>
              <a:ext cx="141139" cy="1237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id-ID" sz="747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40" name="Details 1">
              <a:extLst>
                <a:ext uri="{FF2B5EF4-FFF2-40B4-BE49-F238E27FC236}">
                  <a16:creationId xmlns:a16="http://schemas.microsoft.com/office/drawing/2014/main" id="{0D45330B-4196-4D2F-B9F0-83F12E10DEA4}"/>
                </a:ext>
              </a:extLst>
            </p:cNvPr>
            <p:cNvSpPr txBox="1"/>
            <p:nvPr/>
          </p:nvSpPr>
          <p:spPr>
            <a:xfrm>
              <a:off x="1509535" y="3748246"/>
              <a:ext cx="141139" cy="129636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pPr>
                <a:lnSpc>
                  <a:spcPts val="1118"/>
                </a:lnSpc>
              </a:pPr>
              <a:endParaRPr lang="en-US" sz="56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41" name="Rectangle 440">
              <a:extLst>
                <a:ext uri="{FF2B5EF4-FFF2-40B4-BE49-F238E27FC236}">
                  <a16:creationId xmlns:a16="http://schemas.microsoft.com/office/drawing/2014/main" id="{BF09153B-1E0D-4AEA-BA91-DD274DD98753}"/>
                </a:ext>
              </a:extLst>
            </p:cNvPr>
            <p:cNvSpPr/>
            <p:nvPr/>
          </p:nvSpPr>
          <p:spPr>
            <a:xfrm>
              <a:off x="1583581" y="1405554"/>
              <a:ext cx="3158317" cy="20619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80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BUSINESS FEATURES ANALYSIS </a:t>
              </a:r>
            </a:p>
            <a:p>
              <a:endParaRPr lang="en-US" sz="168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  <a:p>
              <a:endParaRPr lang="en-US" sz="168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  <a:p>
              <a:r>
                <a:rPr lang="en-US" sz="1680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DEFINITION OF DONE</a:t>
              </a:r>
            </a:p>
            <a:p>
              <a:endParaRPr lang="en-US" sz="168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  <a:p>
              <a:endParaRPr lang="en-US" sz="168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  <a:p>
              <a:r>
                <a:rPr lang="en-US" sz="1680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ARCHITECTURAL RUNWAY</a:t>
              </a:r>
            </a:p>
            <a:p>
              <a:endParaRPr lang="en-US" sz="168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  <a:p>
              <a:endParaRPr lang="en-US" sz="168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  <a:p>
              <a:r>
                <a:rPr lang="en-US" sz="1680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REFACTORING PLAN</a:t>
              </a:r>
            </a:p>
            <a:p>
              <a:endParaRPr lang="en-US" sz="168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  <a:p>
              <a:endParaRPr lang="en-US" sz="168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endParaRPr>
            </a:p>
            <a:p>
              <a:r>
                <a:rPr lang="en-US" sz="1680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DEVOPS CONSTRAINTS</a:t>
              </a:r>
            </a:p>
          </p:txBody>
        </p:sp>
        <p:sp>
          <p:nvSpPr>
            <p:cNvPr id="442" name="Rectangle 441">
              <a:extLst>
                <a:ext uri="{FF2B5EF4-FFF2-40B4-BE49-F238E27FC236}">
                  <a16:creationId xmlns:a16="http://schemas.microsoft.com/office/drawing/2014/main" id="{3EE313E1-BE92-4266-8550-5FD77D685197}"/>
                </a:ext>
              </a:extLst>
            </p:cNvPr>
            <p:cNvSpPr/>
            <p:nvPr/>
          </p:nvSpPr>
          <p:spPr>
            <a:xfrm>
              <a:off x="145061" y="679243"/>
              <a:ext cx="4471057" cy="3491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sz="3200" i="1" dirty="0">
                  <a:solidFill>
                    <a:schemeClr val="tx2"/>
                  </a:solidFill>
                  <a:latin typeface="Gotham Rounded Bold" pitchFamily="50" charset="0"/>
                  <a:cs typeface="Aharoni" panose="02010803020104030203" pitchFamily="2" charset="-79"/>
                </a:rPr>
                <a:t>WHY FITNESS FUNCTION ?</a:t>
              </a:r>
              <a:endParaRPr lang="fr-FR" sz="3200" i="1" dirty="0">
                <a:solidFill>
                  <a:schemeClr val="tx2"/>
                </a:solidFill>
                <a:latin typeface="Gotham Rounded Bold" pitchFamily="50" charset="0"/>
              </a:endParaRPr>
            </a:p>
          </p:txBody>
        </p:sp>
        <p:grpSp>
          <p:nvGrpSpPr>
            <p:cNvPr id="443" name="Groupe 442">
              <a:extLst>
                <a:ext uri="{FF2B5EF4-FFF2-40B4-BE49-F238E27FC236}">
                  <a16:creationId xmlns:a16="http://schemas.microsoft.com/office/drawing/2014/main" id="{AF0F052B-3756-40CE-9A7A-007F46329187}"/>
                </a:ext>
              </a:extLst>
            </p:cNvPr>
            <p:cNvGrpSpPr/>
            <p:nvPr/>
          </p:nvGrpSpPr>
          <p:grpSpPr>
            <a:xfrm>
              <a:off x="2686630" y="3689270"/>
              <a:ext cx="1555583" cy="956035"/>
              <a:chOff x="13788156" y="1655019"/>
              <a:chExt cx="1584176" cy="1008112"/>
            </a:xfrm>
          </p:grpSpPr>
          <p:sp>
            <p:nvSpPr>
              <p:cNvPr id="444" name="Rectangle : coins arrondis 443">
                <a:extLst>
                  <a:ext uri="{FF2B5EF4-FFF2-40B4-BE49-F238E27FC236}">
                    <a16:creationId xmlns:a16="http://schemas.microsoft.com/office/drawing/2014/main" id="{1D561D94-0341-4182-8EAA-040A5BD0EA65}"/>
                  </a:ext>
                </a:extLst>
              </p:cNvPr>
              <p:cNvSpPr/>
              <p:nvPr/>
            </p:nvSpPr>
            <p:spPr>
              <a:xfrm>
                <a:off x="13788156" y="1655019"/>
                <a:ext cx="1584176" cy="1008112"/>
              </a:xfrm>
              <a:prstGeom prst="roundRect">
                <a:avLst>
                  <a:gd name="adj" fmla="val 6274"/>
                </a:avLst>
              </a:prstGeom>
              <a:solidFill>
                <a:srgbClr val="92D05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2987"/>
              </a:p>
            </p:txBody>
          </p:sp>
          <p:grpSp>
            <p:nvGrpSpPr>
              <p:cNvPr id="445" name="Groupe 444">
                <a:extLst>
                  <a:ext uri="{FF2B5EF4-FFF2-40B4-BE49-F238E27FC236}">
                    <a16:creationId xmlns:a16="http://schemas.microsoft.com/office/drawing/2014/main" id="{F5638DB7-EDD6-4308-BD37-A342F717E19D}"/>
                  </a:ext>
                </a:extLst>
              </p:cNvPr>
              <p:cNvGrpSpPr/>
              <p:nvPr/>
            </p:nvGrpSpPr>
            <p:grpSpPr>
              <a:xfrm>
                <a:off x="14668052" y="1849905"/>
                <a:ext cx="319113" cy="375317"/>
                <a:chOff x="13860164" y="1263479"/>
                <a:chExt cx="565716" cy="886756"/>
              </a:xfrm>
            </p:grpSpPr>
            <p:sp>
              <p:nvSpPr>
                <p:cNvPr id="450" name="Rectangle 449">
                  <a:extLst>
                    <a:ext uri="{FF2B5EF4-FFF2-40B4-BE49-F238E27FC236}">
                      <a16:creationId xmlns:a16="http://schemas.microsoft.com/office/drawing/2014/main" id="{C58DBA61-E12E-478B-9E5A-546A9FE3E749}"/>
                    </a:ext>
                  </a:extLst>
                </p:cNvPr>
                <p:cNvSpPr/>
                <p:nvPr/>
              </p:nvSpPr>
              <p:spPr>
                <a:xfrm>
                  <a:off x="13893512" y="1263479"/>
                  <a:ext cx="495412" cy="151577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2987"/>
                </a:p>
              </p:txBody>
            </p:sp>
            <p:sp>
              <p:nvSpPr>
                <p:cNvPr id="451" name="Rectangle 450">
                  <a:extLst>
                    <a:ext uri="{FF2B5EF4-FFF2-40B4-BE49-F238E27FC236}">
                      <a16:creationId xmlns:a16="http://schemas.microsoft.com/office/drawing/2014/main" id="{DF1C839A-C9B7-418B-AEA3-CF6867D90CDA}"/>
                    </a:ext>
                  </a:extLst>
                </p:cNvPr>
                <p:cNvSpPr/>
                <p:nvPr/>
              </p:nvSpPr>
              <p:spPr>
                <a:xfrm>
                  <a:off x="13893512" y="1441289"/>
                  <a:ext cx="495412" cy="151577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2987"/>
                </a:p>
              </p:txBody>
            </p:sp>
            <p:sp>
              <p:nvSpPr>
                <p:cNvPr id="452" name="Rectangle 451">
                  <a:extLst>
                    <a:ext uri="{FF2B5EF4-FFF2-40B4-BE49-F238E27FC236}">
                      <a16:creationId xmlns:a16="http://schemas.microsoft.com/office/drawing/2014/main" id="{1982C40E-A32D-4836-A33A-A9112F96E125}"/>
                    </a:ext>
                  </a:extLst>
                </p:cNvPr>
                <p:cNvSpPr/>
                <p:nvPr/>
              </p:nvSpPr>
              <p:spPr>
                <a:xfrm>
                  <a:off x="13893512" y="1619099"/>
                  <a:ext cx="495412" cy="151577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2987"/>
                </a:p>
              </p:txBody>
            </p:sp>
            <p:sp>
              <p:nvSpPr>
                <p:cNvPr id="453" name="Rectangle 452">
                  <a:extLst>
                    <a:ext uri="{FF2B5EF4-FFF2-40B4-BE49-F238E27FC236}">
                      <a16:creationId xmlns:a16="http://schemas.microsoft.com/office/drawing/2014/main" id="{634C1435-47E4-4852-B653-00794BE92B4D}"/>
                    </a:ext>
                  </a:extLst>
                </p:cNvPr>
                <p:cNvSpPr/>
                <p:nvPr/>
              </p:nvSpPr>
              <p:spPr>
                <a:xfrm>
                  <a:off x="13893512" y="1796909"/>
                  <a:ext cx="495412" cy="151577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2987"/>
                </a:p>
              </p:txBody>
            </p:sp>
            <p:sp>
              <p:nvSpPr>
                <p:cNvPr id="454" name="Rectangle 453">
                  <a:extLst>
                    <a:ext uri="{FF2B5EF4-FFF2-40B4-BE49-F238E27FC236}">
                      <a16:creationId xmlns:a16="http://schemas.microsoft.com/office/drawing/2014/main" id="{F8617B70-5E9B-40EF-AF02-9EC67FBD25FD}"/>
                    </a:ext>
                  </a:extLst>
                </p:cNvPr>
                <p:cNvSpPr/>
                <p:nvPr/>
              </p:nvSpPr>
              <p:spPr>
                <a:xfrm>
                  <a:off x="13893512" y="1974719"/>
                  <a:ext cx="495412" cy="151577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2987"/>
                </a:p>
              </p:txBody>
            </p:sp>
            <p:cxnSp>
              <p:nvCxnSpPr>
                <p:cNvPr id="455" name="Connecteur droit 454">
                  <a:extLst>
                    <a:ext uri="{FF2B5EF4-FFF2-40B4-BE49-F238E27FC236}">
                      <a16:creationId xmlns:a16="http://schemas.microsoft.com/office/drawing/2014/main" id="{508A79D5-0B97-4D85-9835-7763E8C5EAA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3860164" y="1294979"/>
                  <a:ext cx="0" cy="855256"/>
                </a:xfrm>
                <a:prstGeom prst="line">
                  <a:avLst/>
                </a:prstGeom>
                <a:ln w="19050">
                  <a:solidFill>
                    <a:srgbClr val="858B78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56" name="Connecteur droit 455">
                  <a:extLst>
                    <a:ext uri="{FF2B5EF4-FFF2-40B4-BE49-F238E27FC236}">
                      <a16:creationId xmlns:a16="http://schemas.microsoft.com/office/drawing/2014/main" id="{650D04C2-0FFA-4783-B9C5-59086DBE5A43}"/>
                    </a:ext>
                  </a:extLst>
                </p:cNvPr>
                <p:cNvCxnSpPr/>
                <p:nvPr/>
              </p:nvCxnSpPr>
              <p:spPr>
                <a:xfrm>
                  <a:off x="14425880" y="1286139"/>
                  <a:ext cx="0" cy="864096"/>
                </a:xfrm>
                <a:prstGeom prst="line">
                  <a:avLst/>
                </a:prstGeom>
                <a:ln w="19050">
                  <a:solidFill>
                    <a:srgbClr val="858B78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57" name="Connecteur droit 456">
                  <a:extLst>
                    <a:ext uri="{FF2B5EF4-FFF2-40B4-BE49-F238E27FC236}">
                      <a16:creationId xmlns:a16="http://schemas.microsoft.com/office/drawing/2014/main" id="{0613CB4B-D818-4F2B-AE70-7A2615030DD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3860164" y="2150235"/>
                  <a:ext cx="565716" cy="0"/>
                </a:xfrm>
                <a:prstGeom prst="line">
                  <a:avLst/>
                </a:prstGeom>
                <a:ln w="19050">
                  <a:solidFill>
                    <a:srgbClr val="858B78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46" name="ZoneTexte 445">
                <a:extLst>
                  <a:ext uri="{FF2B5EF4-FFF2-40B4-BE49-F238E27FC236}">
                    <a16:creationId xmlns:a16="http://schemas.microsoft.com/office/drawing/2014/main" id="{B493C8C1-A4C0-4D9B-B7F3-9A8342DB29F6}"/>
                  </a:ext>
                </a:extLst>
              </p:cNvPr>
              <p:cNvSpPr txBox="1"/>
              <p:nvPr/>
            </p:nvSpPr>
            <p:spPr>
              <a:xfrm>
                <a:off x="13864404" y="2018116"/>
                <a:ext cx="833409" cy="27517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1120" dirty="0">
                    <a:solidFill>
                      <a:schemeClr val="bg1"/>
                    </a:solidFill>
                    <a:latin typeface="Aharoni" panose="02010803020104030203" pitchFamily="2" charset="-79"/>
                    <a:cs typeface="Aharoni" panose="02010803020104030203" pitchFamily="2" charset="-79"/>
                  </a:rPr>
                  <a:t>BACKLOG </a:t>
                </a:r>
              </a:p>
              <a:p>
                <a:r>
                  <a:rPr lang="fr-FR" sz="1120" dirty="0">
                    <a:solidFill>
                      <a:schemeClr val="bg1"/>
                    </a:solidFill>
                    <a:latin typeface="Aharoni" panose="02010803020104030203" pitchFamily="2" charset="-79"/>
                    <a:cs typeface="Aharoni" panose="02010803020104030203" pitchFamily="2" charset="-79"/>
                  </a:rPr>
                  <a:t>CONSTRAINT</a:t>
                </a:r>
              </a:p>
            </p:txBody>
          </p:sp>
          <p:sp>
            <p:nvSpPr>
              <p:cNvPr id="447" name="Arc 446">
                <a:extLst>
                  <a:ext uri="{FF2B5EF4-FFF2-40B4-BE49-F238E27FC236}">
                    <a16:creationId xmlns:a16="http://schemas.microsoft.com/office/drawing/2014/main" id="{143015E2-3569-4667-A156-45E7458FC009}"/>
                  </a:ext>
                </a:extLst>
              </p:cNvPr>
              <p:cNvSpPr/>
              <p:nvPr/>
            </p:nvSpPr>
            <p:spPr>
              <a:xfrm rot="4944434">
                <a:off x="14744177" y="2185240"/>
                <a:ext cx="268396" cy="131374"/>
              </a:xfrm>
              <a:prstGeom prst="arc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2987"/>
              </a:p>
            </p:txBody>
          </p:sp>
          <p:sp>
            <p:nvSpPr>
              <p:cNvPr id="448" name="Arc 447">
                <a:extLst>
                  <a:ext uri="{FF2B5EF4-FFF2-40B4-BE49-F238E27FC236}">
                    <a16:creationId xmlns:a16="http://schemas.microsoft.com/office/drawing/2014/main" id="{4F0FF186-D085-4BFF-B1F9-8B75DEEF6374}"/>
                  </a:ext>
                </a:extLst>
              </p:cNvPr>
              <p:cNvSpPr/>
              <p:nvPr/>
            </p:nvSpPr>
            <p:spPr>
              <a:xfrm rot="6227675" flipV="1">
                <a:off x="14711947" y="2176673"/>
                <a:ext cx="248189" cy="156442"/>
              </a:xfrm>
              <a:prstGeom prst="arc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2987"/>
              </a:p>
            </p:txBody>
          </p:sp>
          <p:sp>
            <p:nvSpPr>
              <p:cNvPr id="449" name="Ellipse 448">
                <a:extLst>
                  <a:ext uri="{FF2B5EF4-FFF2-40B4-BE49-F238E27FC236}">
                    <a16:creationId xmlns:a16="http://schemas.microsoft.com/office/drawing/2014/main" id="{DC01942A-1547-48DD-B6C8-F09096B55BF1}"/>
                  </a:ext>
                </a:extLst>
              </p:cNvPr>
              <p:cNvSpPr/>
              <p:nvPr/>
            </p:nvSpPr>
            <p:spPr>
              <a:xfrm>
                <a:off x="14596379" y="2364709"/>
                <a:ext cx="479324" cy="244886"/>
              </a:xfrm>
              <a:prstGeom prst="ellipse">
                <a:avLst/>
              </a:prstGeom>
              <a:solidFill>
                <a:schemeClr val="bg1">
                  <a:lumMod val="50000"/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120" dirty="0"/>
                  <a:t>NFR</a:t>
                </a:r>
              </a:p>
            </p:txBody>
          </p:sp>
        </p:grpSp>
        <p:sp>
          <p:nvSpPr>
            <p:cNvPr id="458" name="Rectangle 457">
              <a:extLst>
                <a:ext uri="{FF2B5EF4-FFF2-40B4-BE49-F238E27FC236}">
                  <a16:creationId xmlns:a16="http://schemas.microsoft.com/office/drawing/2014/main" id="{1B1CC142-21C7-4C43-AD93-881668DE14A6}"/>
                </a:ext>
              </a:extLst>
            </p:cNvPr>
            <p:cNvSpPr/>
            <p:nvPr/>
          </p:nvSpPr>
          <p:spPr>
            <a:xfrm>
              <a:off x="5031355" y="3656151"/>
              <a:ext cx="1144145" cy="2437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sz="2053" i="1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USES CASE</a:t>
              </a:r>
              <a:endParaRPr lang="fr-FR" sz="2053" dirty="0"/>
            </a:p>
          </p:txBody>
        </p:sp>
        <p:sp>
          <p:nvSpPr>
            <p:cNvPr id="459" name="Rectangle : coins arrondis 458">
              <a:extLst>
                <a:ext uri="{FF2B5EF4-FFF2-40B4-BE49-F238E27FC236}">
                  <a16:creationId xmlns:a16="http://schemas.microsoft.com/office/drawing/2014/main" id="{7AE62658-6E33-4B3E-93BF-6BC5CFA7F2C0}"/>
                </a:ext>
              </a:extLst>
            </p:cNvPr>
            <p:cNvSpPr/>
            <p:nvPr/>
          </p:nvSpPr>
          <p:spPr bwMode="auto">
            <a:xfrm>
              <a:off x="-2123512" y="1456769"/>
              <a:ext cx="1666793" cy="601471"/>
            </a:xfrm>
            <a:prstGeom prst="roundRect">
              <a:avLst/>
            </a:prstGeom>
            <a:solidFill>
              <a:schemeClr val="bg1">
                <a:alpha val="20000"/>
              </a:schemeClr>
            </a:solidFill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993921">
                <a:lnSpc>
                  <a:spcPct val="80000"/>
                </a:lnSpc>
                <a:defRPr/>
              </a:pPr>
              <a:r>
                <a:rPr lang="fr-FR" sz="2240" b="1" kern="0" dirty="0">
                  <a:solidFill>
                    <a:srgbClr val="44546A"/>
                  </a:solidFill>
                  <a:latin typeface="Calibri"/>
                </a:rPr>
                <a:t>BACKLOG</a:t>
              </a:r>
            </a:p>
          </p:txBody>
        </p:sp>
        <p:sp>
          <p:nvSpPr>
            <p:cNvPr id="460" name="ZoneTexte 459">
              <a:extLst>
                <a:ext uri="{FF2B5EF4-FFF2-40B4-BE49-F238E27FC236}">
                  <a16:creationId xmlns:a16="http://schemas.microsoft.com/office/drawing/2014/main" id="{7B80C5E0-E75E-4E9A-AC8C-DB96CBE8F02F}"/>
                </a:ext>
              </a:extLst>
            </p:cNvPr>
            <p:cNvSpPr txBox="1"/>
            <p:nvPr/>
          </p:nvSpPr>
          <p:spPr bwMode="auto">
            <a:xfrm>
              <a:off x="-1523917" y="3973472"/>
              <a:ext cx="1125774" cy="32960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7796946">
                <a:defRPr/>
              </a:pPr>
              <a:r>
                <a:rPr lang="fr-FR" sz="2987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GITLAB</a:t>
              </a:r>
            </a:p>
          </p:txBody>
        </p:sp>
        <p:sp>
          <p:nvSpPr>
            <p:cNvPr id="461" name="Rectangle : coins arrondis 460">
              <a:extLst>
                <a:ext uri="{FF2B5EF4-FFF2-40B4-BE49-F238E27FC236}">
                  <a16:creationId xmlns:a16="http://schemas.microsoft.com/office/drawing/2014/main" id="{DFA37018-E9B4-4444-9BD9-E83BAAB4C91B}"/>
                </a:ext>
              </a:extLst>
            </p:cNvPr>
            <p:cNvSpPr/>
            <p:nvPr/>
          </p:nvSpPr>
          <p:spPr bwMode="auto">
            <a:xfrm>
              <a:off x="-1577823" y="4327675"/>
              <a:ext cx="1955526" cy="601471"/>
            </a:xfrm>
            <a:prstGeom prst="roundRect">
              <a:avLst/>
            </a:prstGeom>
            <a:solidFill>
              <a:schemeClr val="bg1">
                <a:alpha val="20000"/>
              </a:schemeClr>
            </a:solidFill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993921">
                <a:lnSpc>
                  <a:spcPct val="80000"/>
                </a:lnSpc>
                <a:defRPr/>
              </a:pPr>
              <a:r>
                <a:rPr lang="fr-FR" sz="2240" b="1" kern="0" dirty="0">
                  <a:solidFill>
                    <a:srgbClr val="44546A"/>
                  </a:solidFill>
                  <a:latin typeface="Calibri"/>
                </a:rPr>
                <a:t>DECISION </a:t>
              </a:r>
            </a:p>
            <a:p>
              <a:pPr algn="ctr" defTabSz="5993921">
                <a:lnSpc>
                  <a:spcPct val="80000"/>
                </a:lnSpc>
                <a:defRPr/>
              </a:pPr>
              <a:r>
                <a:rPr lang="fr-FR" sz="2240" b="1" kern="0" dirty="0">
                  <a:solidFill>
                    <a:srgbClr val="44546A"/>
                  </a:solidFill>
                  <a:latin typeface="Calibri"/>
                </a:rPr>
                <a:t>LOG</a:t>
              </a:r>
            </a:p>
          </p:txBody>
        </p:sp>
        <p:sp>
          <p:nvSpPr>
            <p:cNvPr id="462" name="Freeform 24">
              <a:extLst>
                <a:ext uri="{FF2B5EF4-FFF2-40B4-BE49-F238E27FC236}">
                  <a16:creationId xmlns:a16="http://schemas.microsoft.com/office/drawing/2014/main" id="{CA01C0F2-76AD-4CBC-91F3-C58DD7DF52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14971" y="4443122"/>
              <a:ext cx="432829" cy="341426"/>
            </a:xfrm>
            <a:custGeom>
              <a:avLst/>
              <a:gdLst>
                <a:gd name="T0" fmla="*/ 1 w 70"/>
                <a:gd name="T1" fmla="*/ 15 h 63"/>
                <a:gd name="T2" fmla="*/ 35 w 70"/>
                <a:gd name="T3" fmla="*/ 0 h 63"/>
                <a:gd name="T4" fmla="*/ 64 w 70"/>
                <a:gd name="T5" fmla="*/ 27 h 63"/>
                <a:gd name="T6" fmla="*/ 8 w 70"/>
                <a:gd name="T7" fmla="*/ 23 h 63"/>
                <a:gd name="T8" fmla="*/ 15 w 70"/>
                <a:gd name="T9" fmla="*/ 23 h 63"/>
                <a:gd name="T10" fmla="*/ 6 w 70"/>
                <a:gd name="T11" fmla="*/ 27 h 63"/>
                <a:gd name="T12" fmla="*/ 5 w 70"/>
                <a:gd name="T13" fmla="*/ 27 h 63"/>
                <a:gd name="T14" fmla="*/ 5 w 70"/>
                <a:gd name="T15" fmla="*/ 27 h 63"/>
                <a:gd name="T16" fmla="*/ 66 w 70"/>
                <a:gd name="T17" fmla="*/ 38 h 63"/>
                <a:gd name="T18" fmla="*/ 64 w 70"/>
                <a:gd name="T19" fmla="*/ 36 h 63"/>
                <a:gd name="T20" fmla="*/ 54 w 70"/>
                <a:gd name="T21" fmla="*/ 41 h 63"/>
                <a:gd name="T22" fmla="*/ 62 w 70"/>
                <a:gd name="T23" fmla="*/ 41 h 63"/>
                <a:gd name="T24" fmla="*/ 5 w 70"/>
                <a:gd name="T25" fmla="*/ 36 h 63"/>
                <a:gd name="T26" fmla="*/ 64 w 70"/>
                <a:gd name="T27" fmla="*/ 42 h 63"/>
                <a:gd name="T28" fmla="*/ 69 w 70"/>
                <a:gd name="T29" fmla="*/ 48 h 63"/>
                <a:gd name="T30" fmla="*/ 51 w 70"/>
                <a:gd name="T31" fmla="*/ 34 h 63"/>
                <a:gd name="T32" fmla="*/ 51 w 70"/>
                <a:gd name="T33" fmla="*/ 39 h 63"/>
                <a:gd name="T34" fmla="*/ 47 w 70"/>
                <a:gd name="T35" fmla="*/ 40 h 63"/>
                <a:gd name="T36" fmla="*/ 47 w 70"/>
                <a:gd name="T37" fmla="*/ 45 h 63"/>
                <a:gd name="T38" fmla="*/ 42 w 70"/>
                <a:gd name="T39" fmla="*/ 47 h 63"/>
                <a:gd name="T40" fmla="*/ 38 w 70"/>
                <a:gd name="T41" fmla="*/ 49 h 63"/>
                <a:gd name="T42" fmla="*/ 32 w 70"/>
                <a:gd name="T43" fmla="*/ 49 h 63"/>
                <a:gd name="T44" fmla="*/ 30 w 70"/>
                <a:gd name="T45" fmla="*/ 46 h 63"/>
                <a:gd name="T46" fmla="*/ 26 w 70"/>
                <a:gd name="T47" fmla="*/ 47 h 63"/>
                <a:gd name="T48" fmla="*/ 23 w 70"/>
                <a:gd name="T49" fmla="*/ 43 h 63"/>
                <a:gd name="T50" fmla="*/ 19 w 70"/>
                <a:gd name="T51" fmla="*/ 40 h 63"/>
                <a:gd name="T52" fmla="*/ 18 w 70"/>
                <a:gd name="T53" fmla="*/ 34 h 63"/>
                <a:gd name="T54" fmla="*/ 18 w 70"/>
                <a:gd name="T55" fmla="*/ 30 h 63"/>
                <a:gd name="T56" fmla="*/ 19 w 70"/>
                <a:gd name="T57" fmla="*/ 24 h 63"/>
                <a:gd name="T58" fmla="*/ 23 w 70"/>
                <a:gd name="T59" fmla="*/ 23 h 63"/>
                <a:gd name="T60" fmla="*/ 23 w 70"/>
                <a:gd name="T61" fmla="*/ 19 h 63"/>
                <a:gd name="T62" fmla="*/ 28 w 70"/>
                <a:gd name="T63" fmla="*/ 17 h 63"/>
                <a:gd name="T64" fmla="*/ 32 w 70"/>
                <a:gd name="T65" fmla="*/ 15 h 63"/>
                <a:gd name="T66" fmla="*/ 38 w 70"/>
                <a:gd name="T67" fmla="*/ 15 h 63"/>
                <a:gd name="T68" fmla="*/ 42 w 70"/>
                <a:gd name="T69" fmla="*/ 17 h 63"/>
                <a:gd name="T70" fmla="*/ 47 w 70"/>
                <a:gd name="T71" fmla="*/ 19 h 63"/>
                <a:gd name="T72" fmla="*/ 47 w 70"/>
                <a:gd name="T73" fmla="*/ 23 h 63"/>
                <a:gd name="T74" fmla="*/ 51 w 70"/>
                <a:gd name="T75" fmla="*/ 24 h 63"/>
                <a:gd name="T76" fmla="*/ 51 w 70"/>
                <a:gd name="T77" fmla="*/ 30 h 63"/>
                <a:gd name="T78" fmla="*/ 50 w 70"/>
                <a:gd name="T79" fmla="*/ 28 h 63"/>
                <a:gd name="T80" fmla="*/ 45 w 70"/>
                <a:gd name="T81" fmla="*/ 20 h 63"/>
                <a:gd name="T82" fmla="*/ 36 w 70"/>
                <a:gd name="T83" fmla="*/ 16 h 63"/>
                <a:gd name="T84" fmla="*/ 26 w 70"/>
                <a:gd name="T85" fmla="*/ 19 h 63"/>
                <a:gd name="T86" fmla="*/ 20 w 70"/>
                <a:gd name="T87" fmla="*/ 26 h 63"/>
                <a:gd name="T88" fmla="*/ 20 w 70"/>
                <a:gd name="T89" fmla="*/ 36 h 63"/>
                <a:gd name="T90" fmla="*/ 25 w 70"/>
                <a:gd name="T91" fmla="*/ 44 h 63"/>
                <a:gd name="T92" fmla="*/ 34 w 70"/>
                <a:gd name="T93" fmla="*/ 47 h 63"/>
                <a:gd name="T94" fmla="*/ 43 w 70"/>
                <a:gd name="T95" fmla="*/ 45 h 63"/>
                <a:gd name="T96" fmla="*/ 49 w 70"/>
                <a:gd name="T97" fmla="*/ 38 h 63"/>
                <a:gd name="T98" fmla="*/ 44 w 70"/>
                <a:gd name="T99" fmla="*/ 32 h 63"/>
                <a:gd name="T100" fmla="*/ 35 w 70"/>
                <a:gd name="T101" fmla="*/ 23 h 63"/>
                <a:gd name="T102" fmla="*/ 35 w 70"/>
                <a:gd name="T103" fmla="*/ 25 h 63"/>
                <a:gd name="T104" fmla="*/ 42 w 70"/>
                <a:gd name="T105" fmla="*/ 32 h 63"/>
                <a:gd name="T106" fmla="*/ 35 w 70"/>
                <a:gd name="T107" fmla="*/ 3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0" h="63">
                  <a:moveTo>
                    <a:pt x="4" y="26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6"/>
                    <a:pt x="1" y="15"/>
                  </a:cubicBezTo>
                  <a:cubicBezTo>
                    <a:pt x="1" y="15"/>
                    <a:pt x="2" y="15"/>
                    <a:pt x="3" y="16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9" y="9"/>
                    <a:pt x="21" y="0"/>
                    <a:pt x="35" y="0"/>
                  </a:cubicBezTo>
                  <a:cubicBezTo>
                    <a:pt x="50" y="0"/>
                    <a:pt x="63" y="11"/>
                    <a:pt x="66" y="26"/>
                  </a:cubicBezTo>
                  <a:cubicBezTo>
                    <a:pt x="66" y="26"/>
                    <a:pt x="65" y="27"/>
                    <a:pt x="64" y="2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3" y="27"/>
                    <a:pt x="63" y="27"/>
                    <a:pt x="63" y="26"/>
                  </a:cubicBezTo>
                  <a:cubicBezTo>
                    <a:pt x="60" y="13"/>
                    <a:pt x="48" y="3"/>
                    <a:pt x="35" y="3"/>
                  </a:cubicBezTo>
                  <a:cubicBezTo>
                    <a:pt x="22" y="3"/>
                    <a:pt x="11" y="12"/>
                    <a:pt x="8" y="23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6" y="21"/>
                  </a:cubicBezTo>
                  <a:cubicBezTo>
                    <a:pt x="16" y="22"/>
                    <a:pt x="16" y="23"/>
                    <a:pt x="15" y="23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4" y="27"/>
                    <a:pt x="4" y="27"/>
                    <a:pt x="4" y="26"/>
                  </a:cubicBezTo>
                  <a:close/>
                  <a:moveTo>
                    <a:pt x="69" y="46"/>
                  </a:moveTo>
                  <a:cubicBezTo>
                    <a:pt x="66" y="38"/>
                    <a:pt x="66" y="38"/>
                    <a:pt x="66" y="38"/>
                  </a:cubicBezTo>
                  <a:cubicBezTo>
                    <a:pt x="65" y="37"/>
                    <a:pt x="65" y="37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3" y="36"/>
                    <a:pt x="63" y="37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4" y="41"/>
                    <a:pt x="53" y="42"/>
                    <a:pt x="54" y="43"/>
                  </a:cubicBezTo>
                  <a:cubicBezTo>
                    <a:pt x="54" y="43"/>
                    <a:pt x="55" y="44"/>
                    <a:pt x="56" y="43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58" y="52"/>
                    <a:pt x="47" y="60"/>
                    <a:pt x="35" y="60"/>
                  </a:cubicBezTo>
                  <a:cubicBezTo>
                    <a:pt x="21" y="60"/>
                    <a:pt x="9" y="51"/>
                    <a:pt x="7" y="38"/>
                  </a:cubicBezTo>
                  <a:cubicBezTo>
                    <a:pt x="7" y="37"/>
                    <a:pt x="6" y="36"/>
                    <a:pt x="5" y="36"/>
                  </a:cubicBezTo>
                  <a:cubicBezTo>
                    <a:pt x="4" y="37"/>
                    <a:pt x="4" y="37"/>
                    <a:pt x="4" y="38"/>
                  </a:cubicBezTo>
                  <a:cubicBezTo>
                    <a:pt x="7" y="53"/>
                    <a:pt x="20" y="63"/>
                    <a:pt x="35" y="63"/>
                  </a:cubicBezTo>
                  <a:cubicBezTo>
                    <a:pt x="48" y="63"/>
                    <a:pt x="60" y="55"/>
                    <a:pt x="64" y="42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48"/>
                    <a:pt x="68" y="48"/>
                    <a:pt x="68" y="48"/>
                  </a:cubicBezTo>
                  <a:cubicBezTo>
                    <a:pt x="68" y="48"/>
                    <a:pt x="69" y="48"/>
                    <a:pt x="69" y="48"/>
                  </a:cubicBezTo>
                  <a:cubicBezTo>
                    <a:pt x="69" y="48"/>
                    <a:pt x="70" y="47"/>
                    <a:pt x="69" y="46"/>
                  </a:cubicBezTo>
                  <a:close/>
                  <a:moveTo>
                    <a:pt x="49" y="32"/>
                  </a:moveTo>
                  <a:cubicBezTo>
                    <a:pt x="49" y="33"/>
                    <a:pt x="50" y="34"/>
                    <a:pt x="51" y="34"/>
                  </a:cubicBezTo>
                  <a:cubicBezTo>
                    <a:pt x="51" y="34"/>
                    <a:pt x="52" y="34"/>
                    <a:pt x="52" y="34"/>
                  </a:cubicBezTo>
                  <a:cubicBezTo>
                    <a:pt x="52" y="34"/>
                    <a:pt x="52" y="35"/>
                    <a:pt x="52" y="35"/>
                  </a:cubicBezTo>
                  <a:cubicBezTo>
                    <a:pt x="52" y="37"/>
                    <a:pt x="51" y="38"/>
                    <a:pt x="51" y="39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49" y="40"/>
                    <a:pt x="49" y="40"/>
                  </a:cubicBezTo>
                  <a:cubicBezTo>
                    <a:pt x="48" y="39"/>
                    <a:pt x="47" y="40"/>
                    <a:pt x="47" y="40"/>
                  </a:cubicBezTo>
                  <a:cubicBezTo>
                    <a:pt x="46" y="41"/>
                    <a:pt x="46" y="42"/>
                    <a:pt x="47" y="43"/>
                  </a:cubicBezTo>
                  <a:cubicBezTo>
                    <a:pt x="47" y="43"/>
                    <a:pt x="47" y="44"/>
                    <a:pt x="47" y="44"/>
                  </a:cubicBezTo>
                  <a:cubicBezTo>
                    <a:pt x="47" y="44"/>
                    <a:pt x="47" y="44"/>
                    <a:pt x="47" y="45"/>
                  </a:cubicBezTo>
                  <a:cubicBezTo>
                    <a:pt x="46" y="46"/>
                    <a:pt x="44" y="47"/>
                    <a:pt x="43" y="47"/>
                  </a:cubicBezTo>
                  <a:cubicBezTo>
                    <a:pt x="43" y="48"/>
                    <a:pt x="42" y="48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1" y="46"/>
                    <a:pt x="40" y="45"/>
                    <a:pt x="39" y="46"/>
                  </a:cubicBezTo>
                  <a:cubicBezTo>
                    <a:pt x="38" y="46"/>
                    <a:pt x="38" y="47"/>
                    <a:pt x="38" y="48"/>
                  </a:cubicBezTo>
                  <a:cubicBezTo>
                    <a:pt x="38" y="48"/>
                    <a:pt x="38" y="49"/>
                    <a:pt x="38" y="49"/>
                  </a:cubicBezTo>
                  <a:cubicBezTo>
                    <a:pt x="38" y="49"/>
                    <a:pt x="37" y="49"/>
                    <a:pt x="37" y="49"/>
                  </a:cubicBezTo>
                  <a:cubicBezTo>
                    <a:pt x="36" y="49"/>
                    <a:pt x="35" y="49"/>
                    <a:pt x="35" y="49"/>
                  </a:cubicBezTo>
                  <a:cubicBezTo>
                    <a:pt x="34" y="49"/>
                    <a:pt x="33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1" y="49"/>
                    <a:pt x="31" y="48"/>
                    <a:pt x="31" y="48"/>
                  </a:cubicBezTo>
                  <a:cubicBezTo>
                    <a:pt x="32" y="47"/>
                    <a:pt x="31" y="46"/>
                    <a:pt x="30" y="46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8" y="47"/>
                    <a:pt x="27" y="47"/>
                    <a:pt x="27" y="47"/>
                  </a:cubicBezTo>
                  <a:cubicBezTo>
                    <a:pt x="27" y="48"/>
                    <a:pt x="27" y="48"/>
                    <a:pt x="26" y="47"/>
                  </a:cubicBezTo>
                  <a:cubicBezTo>
                    <a:pt x="25" y="47"/>
                    <a:pt x="24" y="46"/>
                    <a:pt x="23" y="45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3"/>
                    <a:pt x="23" y="43"/>
                  </a:cubicBezTo>
                  <a:cubicBezTo>
                    <a:pt x="23" y="42"/>
                    <a:pt x="23" y="41"/>
                    <a:pt x="23" y="40"/>
                  </a:cubicBezTo>
                  <a:cubicBezTo>
                    <a:pt x="22" y="40"/>
                    <a:pt x="21" y="39"/>
                    <a:pt x="20" y="40"/>
                  </a:cubicBezTo>
                  <a:cubicBezTo>
                    <a:pt x="20" y="40"/>
                    <a:pt x="20" y="40"/>
                    <a:pt x="19" y="40"/>
                  </a:cubicBezTo>
                  <a:cubicBezTo>
                    <a:pt x="19" y="40"/>
                    <a:pt x="19" y="40"/>
                    <a:pt x="19" y="39"/>
                  </a:cubicBezTo>
                  <a:cubicBezTo>
                    <a:pt x="18" y="38"/>
                    <a:pt x="18" y="37"/>
                    <a:pt x="17" y="35"/>
                  </a:cubicBezTo>
                  <a:cubicBezTo>
                    <a:pt x="17" y="35"/>
                    <a:pt x="17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20" y="33"/>
                    <a:pt x="20" y="32"/>
                  </a:cubicBezTo>
                  <a:cubicBezTo>
                    <a:pt x="20" y="31"/>
                    <a:pt x="19" y="30"/>
                    <a:pt x="18" y="30"/>
                  </a:cubicBezTo>
                  <a:cubicBezTo>
                    <a:pt x="18" y="30"/>
                    <a:pt x="18" y="30"/>
                    <a:pt x="1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8" y="27"/>
                    <a:pt x="18" y="26"/>
                    <a:pt x="19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1" y="24"/>
                    <a:pt x="22" y="24"/>
                    <a:pt x="23" y="23"/>
                  </a:cubicBezTo>
                  <a:cubicBezTo>
                    <a:pt x="23" y="22"/>
                    <a:pt x="23" y="21"/>
                    <a:pt x="23" y="21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19"/>
                    <a:pt x="23" y="19"/>
                  </a:cubicBezTo>
                  <a:cubicBezTo>
                    <a:pt x="24" y="18"/>
                    <a:pt x="25" y="17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8" y="17"/>
                    <a:pt x="28" y="17"/>
                  </a:cubicBezTo>
                  <a:cubicBezTo>
                    <a:pt x="28" y="18"/>
                    <a:pt x="29" y="18"/>
                    <a:pt x="30" y="18"/>
                  </a:cubicBezTo>
                  <a:cubicBezTo>
                    <a:pt x="31" y="18"/>
                    <a:pt x="32" y="17"/>
                    <a:pt x="31" y="16"/>
                  </a:cubicBezTo>
                  <a:cubicBezTo>
                    <a:pt x="31" y="15"/>
                    <a:pt x="31" y="15"/>
                    <a:pt x="32" y="15"/>
                  </a:cubicBezTo>
                  <a:cubicBezTo>
                    <a:pt x="32" y="15"/>
                    <a:pt x="32" y="14"/>
                    <a:pt x="32" y="14"/>
                  </a:cubicBezTo>
                  <a:cubicBezTo>
                    <a:pt x="34" y="14"/>
                    <a:pt x="36" y="14"/>
                    <a:pt x="37" y="14"/>
                  </a:cubicBezTo>
                  <a:cubicBezTo>
                    <a:pt x="37" y="14"/>
                    <a:pt x="38" y="15"/>
                    <a:pt x="38" y="15"/>
                  </a:cubicBezTo>
                  <a:cubicBezTo>
                    <a:pt x="38" y="15"/>
                    <a:pt x="38" y="15"/>
                    <a:pt x="38" y="16"/>
                  </a:cubicBezTo>
                  <a:cubicBezTo>
                    <a:pt x="38" y="17"/>
                    <a:pt x="38" y="18"/>
                    <a:pt x="39" y="18"/>
                  </a:cubicBezTo>
                  <a:cubicBezTo>
                    <a:pt x="40" y="18"/>
                    <a:pt x="41" y="18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3" y="16"/>
                    <a:pt x="43" y="16"/>
                  </a:cubicBezTo>
                  <a:cubicBezTo>
                    <a:pt x="44" y="17"/>
                    <a:pt x="46" y="18"/>
                    <a:pt x="47" y="19"/>
                  </a:cubicBezTo>
                  <a:cubicBezTo>
                    <a:pt x="47" y="19"/>
                    <a:pt x="47" y="20"/>
                    <a:pt x="47" y="20"/>
                  </a:cubicBezTo>
                  <a:cubicBezTo>
                    <a:pt x="47" y="20"/>
                    <a:pt x="47" y="20"/>
                    <a:pt x="47" y="21"/>
                  </a:cubicBezTo>
                  <a:cubicBezTo>
                    <a:pt x="46" y="21"/>
                    <a:pt x="46" y="22"/>
                    <a:pt x="47" y="23"/>
                  </a:cubicBezTo>
                  <a:cubicBezTo>
                    <a:pt x="47" y="24"/>
                    <a:pt x="48" y="24"/>
                    <a:pt x="49" y="24"/>
                  </a:cubicBezTo>
                  <a:cubicBezTo>
                    <a:pt x="49" y="24"/>
                    <a:pt x="50" y="24"/>
                    <a:pt x="50" y="24"/>
                  </a:cubicBezTo>
                  <a:cubicBezTo>
                    <a:pt x="50" y="24"/>
                    <a:pt x="50" y="24"/>
                    <a:pt x="51" y="24"/>
                  </a:cubicBezTo>
                  <a:cubicBezTo>
                    <a:pt x="51" y="26"/>
                    <a:pt x="52" y="27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30"/>
                    <a:pt x="51" y="30"/>
                    <a:pt x="51" y="30"/>
                  </a:cubicBezTo>
                  <a:cubicBezTo>
                    <a:pt x="50" y="30"/>
                    <a:pt x="49" y="31"/>
                    <a:pt x="49" y="32"/>
                  </a:cubicBezTo>
                  <a:close/>
                  <a:moveTo>
                    <a:pt x="47" y="32"/>
                  </a:moveTo>
                  <a:cubicBezTo>
                    <a:pt x="47" y="30"/>
                    <a:pt x="48" y="29"/>
                    <a:pt x="50" y="28"/>
                  </a:cubicBezTo>
                  <a:cubicBezTo>
                    <a:pt x="50" y="27"/>
                    <a:pt x="49" y="27"/>
                    <a:pt x="49" y="26"/>
                  </a:cubicBezTo>
                  <a:cubicBezTo>
                    <a:pt x="48" y="26"/>
                    <a:pt x="46" y="26"/>
                    <a:pt x="45" y="24"/>
                  </a:cubicBezTo>
                  <a:cubicBezTo>
                    <a:pt x="44" y="23"/>
                    <a:pt x="44" y="21"/>
                    <a:pt x="45" y="20"/>
                  </a:cubicBezTo>
                  <a:cubicBezTo>
                    <a:pt x="44" y="19"/>
                    <a:pt x="44" y="19"/>
                    <a:pt x="43" y="19"/>
                  </a:cubicBezTo>
                  <a:cubicBezTo>
                    <a:pt x="42" y="20"/>
                    <a:pt x="40" y="20"/>
                    <a:pt x="39" y="20"/>
                  </a:cubicBezTo>
                  <a:cubicBezTo>
                    <a:pt x="37" y="19"/>
                    <a:pt x="36" y="18"/>
                    <a:pt x="36" y="16"/>
                  </a:cubicBezTo>
                  <a:cubicBezTo>
                    <a:pt x="35" y="16"/>
                    <a:pt x="34" y="16"/>
                    <a:pt x="34" y="16"/>
                  </a:cubicBezTo>
                  <a:cubicBezTo>
                    <a:pt x="33" y="18"/>
                    <a:pt x="32" y="19"/>
                    <a:pt x="31" y="20"/>
                  </a:cubicBezTo>
                  <a:cubicBezTo>
                    <a:pt x="29" y="20"/>
                    <a:pt x="27" y="20"/>
                    <a:pt x="26" y="19"/>
                  </a:cubicBezTo>
                  <a:cubicBezTo>
                    <a:pt x="26" y="19"/>
                    <a:pt x="25" y="19"/>
                    <a:pt x="25" y="20"/>
                  </a:cubicBezTo>
                  <a:cubicBezTo>
                    <a:pt x="25" y="21"/>
                    <a:pt x="25" y="23"/>
                    <a:pt x="24" y="24"/>
                  </a:cubicBezTo>
                  <a:cubicBezTo>
                    <a:pt x="24" y="26"/>
                    <a:pt x="22" y="26"/>
                    <a:pt x="20" y="26"/>
                  </a:cubicBezTo>
                  <a:cubicBezTo>
                    <a:pt x="20" y="27"/>
                    <a:pt x="20" y="27"/>
                    <a:pt x="20" y="28"/>
                  </a:cubicBezTo>
                  <a:cubicBezTo>
                    <a:pt x="21" y="29"/>
                    <a:pt x="22" y="30"/>
                    <a:pt x="22" y="32"/>
                  </a:cubicBezTo>
                  <a:cubicBezTo>
                    <a:pt x="22" y="34"/>
                    <a:pt x="21" y="35"/>
                    <a:pt x="20" y="36"/>
                  </a:cubicBezTo>
                  <a:cubicBezTo>
                    <a:pt x="20" y="36"/>
                    <a:pt x="20" y="37"/>
                    <a:pt x="20" y="38"/>
                  </a:cubicBezTo>
                  <a:cubicBezTo>
                    <a:pt x="22" y="37"/>
                    <a:pt x="24" y="38"/>
                    <a:pt x="24" y="39"/>
                  </a:cubicBezTo>
                  <a:cubicBezTo>
                    <a:pt x="25" y="41"/>
                    <a:pt x="25" y="42"/>
                    <a:pt x="25" y="44"/>
                  </a:cubicBezTo>
                  <a:cubicBezTo>
                    <a:pt x="25" y="44"/>
                    <a:pt x="26" y="45"/>
                    <a:pt x="26" y="45"/>
                  </a:cubicBezTo>
                  <a:cubicBezTo>
                    <a:pt x="27" y="44"/>
                    <a:pt x="29" y="43"/>
                    <a:pt x="31" y="44"/>
                  </a:cubicBezTo>
                  <a:cubicBezTo>
                    <a:pt x="32" y="44"/>
                    <a:pt x="33" y="46"/>
                    <a:pt x="34" y="47"/>
                  </a:cubicBezTo>
                  <a:cubicBezTo>
                    <a:pt x="34" y="47"/>
                    <a:pt x="35" y="47"/>
                    <a:pt x="36" y="47"/>
                  </a:cubicBezTo>
                  <a:cubicBezTo>
                    <a:pt x="36" y="46"/>
                    <a:pt x="37" y="44"/>
                    <a:pt x="39" y="44"/>
                  </a:cubicBezTo>
                  <a:cubicBezTo>
                    <a:pt x="40" y="43"/>
                    <a:pt x="42" y="44"/>
                    <a:pt x="43" y="45"/>
                  </a:cubicBezTo>
                  <a:cubicBezTo>
                    <a:pt x="44" y="45"/>
                    <a:pt x="44" y="44"/>
                    <a:pt x="45" y="44"/>
                  </a:cubicBezTo>
                  <a:cubicBezTo>
                    <a:pt x="44" y="42"/>
                    <a:pt x="44" y="41"/>
                    <a:pt x="45" y="39"/>
                  </a:cubicBezTo>
                  <a:cubicBezTo>
                    <a:pt x="46" y="38"/>
                    <a:pt x="48" y="37"/>
                    <a:pt x="49" y="38"/>
                  </a:cubicBezTo>
                  <a:cubicBezTo>
                    <a:pt x="49" y="37"/>
                    <a:pt x="50" y="36"/>
                    <a:pt x="50" y="36"/>
                  </a:cubicBezTo>
                  <a:cubicBezTo>
                    <a:pt x="48" y="35"/>
                    <a:pt x="47" y="34"/>
                    <a:pt x="47" y="32"/>
                  </a:cubicBezTo>
                  <a:close/>
                  <a:moveTo>
                    <a:pt x="44" y="32"/>
                  </a:moveTo>
                  <a:cubicBezTo>
                    <a:pt x="44" y="37"/>
                    <a:pt x="40" y="42"/>
                    <a:pt x="35" y="42"/>
                  </a:cubicBezTo>
                  <a:cubicBezTo>
                    <a:pt x="30" y="42"/>
                    <a:pt x="25" y="37"/>
                    <a:pt x="25" y="32"/>
                  </a:cubicBezTo>
                  <a:cubicBezTo>
                    <a:pt x="25" y="27"/>
                    <a:pt x="30" y="23"/>
                    <a:pt x="35" y="23"/>
                  </a:cubicBezTo>
                  <a:cubicBezTo>
                    <a:pt x="40" y="23"/>
                    <a:pt x="44" y="27"/>
                    <a:pt x="44" y="32"/>
                  </a:cubicBezTo>
                  <a:close/>
                  <a:moveTo>
                    <a:pt x="42" y="32"/>
                  </a:moveTo>
                  <a:cubicBezTo>
                    <a:pt x="42" y="28"/>
                    <a:pt x="39" y="25"/>
                    <a:pt x="35" y="25"/>
                  </a:cubicBezTo>
                  <a:cubicBezTo>
                    <a:pt x="31" y="25"/>
                    <a:pt x="27" y="28"/>
                    <a:pt x="27" y="32"/>
                  </a:cubicBezTo>
                  <a:cubicBezTo>
                    <a:pt x="27" y="36"/>
                    <a:pt x="31" y="40"/>
                    <a:pt x="35" y="40"/>
                  </a:cubicBezTo>
                  <a:cubicBezTo>
                    <a:pt x="39" y="40"/>
                    <a:pt x="42" y="36"/>
                    <a:pt x="42" y="32"/>
                  </a:cubicBezTo>
                  <a:close/>
                  <a:moveTo>
                    <a:pt x="35" y="29"/>
                  </a:moveTo>
                  <a:cubicBezTo>
                    <a:pt x="33" y="29"/>
                    <a:pt x="31" y="30"/>
                    <a:pt x="31" y="32"/>
                  </a:cubicBezTo>
                  <a:cubicBezTo>
                    <a:pt x="31" y="34"/>
                    <a:pt x="33" y="36"/>
                    <a:pt x="35" y="36"/>
                  </a:cubicBezTo>
                  <a:cubicBezTo>
                    <a:pt x="37" y="36"/>
                    <a:pt x="38" y="34"/>
                    <a:pt x="38" y="32"/>
                  </a:cubicBezTo>
                  <a:cubicBezTo>
                    <a:pt x="38" y="30"/>
                    <a:pt x="37" y="29"/>
                    <a:pt x="35" y="29"/>
                  </a:cubicBezTo>
                  <a:close/>
                </a:path>
              </a:pathLst>
            </a:custGeom>
            <a:solidFill>
              <a:srgbClr val="9BBB59"/>
            </a:solidFill>
            <a:ln w="6350">
              <a:solidFill>
                <a:schemeClr val="accent3"/>
              </a:solidFill>
            </a:ln>
          </p:spPr>
          <p:txBody>
            <a:bodyPr lIns="599319" tIns="299669" rIns="599319" bIns="299669"/>
            <a:lstStyle/>
            <a:p>
              <a:pPr defTabSz="7796946">
                <a:defRPr/>
              </a:pPr>
              <a:endParaRPr lang="en-US" sz="12320"/>
            </a:p>
          </p:txBody>
        </p:sp>
        <p:sp>
          <p:nvSpPr>
            <p:cNvPr id="463" name="Freeform 7">
              <a:extLst>
                <a:ext uri="{FF2B5EF4-FFF2-40B4-BE49-F238E27FC236}">
                  <a16:creationId xmlns:a16="http://schemas.microsoft.com/office/drawing/2014/main" id="{01AF398E-1C0E-4836-BE68-84B754407F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81905" y="1544997"/>
              <a:ext cx="313433" cy="289919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txBody>
            <a:bodyPr lIns="599319" tIns="299662" rIns="599319" bIns="299662"/>
            <a:lstStyle/>
            <a:p>
              <a:pPr defTabSz="7796946"/>
              <a:endParaRPr lang="en-US" sz="3733"/>
            </a:p>
          </p:txBody>
        </p:sp>
        <p:sp>
          <p:nvSpPr>
            <p:cNvPr id="464" name="Freeform 7">
              <a:extLst>
                <a:ext uri="{FF2B5EF4-FFF2-40B4-BE49-F238E27FC236}">
                  <a16:creationId xmlns:a16="http://schemas.microsoft.com/office/drawing/2014/main" id="{87822CB0-249C-49ED-99DD-8F266368ECA0}"/>
                </a:ext>
              </a:extLst>
            </p:cNvPr>
            <p:cNvSpPr>
              <a:spLocks/>
            </p:cNvSpPr>
            <p:nvPr/>
          </p:nvSpPr>
          <p:spPr bwMode="gray">
            <a:xfrm rot="8372223" flipV="1">
              <a:off x="-274377" y="1238967"/>
              <a:ext cx="931421" cy="607134"/>
            </a:xfrm>
            <a:custGeom>
              <a:avLst/>
              <a:gdLst/>
              <a:ahLst/>
              <a:cxnLst>
                <a:cxn ang="0">
                  <a:pos x="0" y="400"/>
                </a:cxn>
                <a:cxn ang="0">
                  <a:pos x="460" y="126"/>
                </a:cxn>
                <a:cxn ang="0">
                  <a:pos x="460" y="186"/>
                </a:cxn>
                <a:cxn ang="0">
                  <a:pos x="625" y="90"/>
                </a:cxn>
                <a:cxn ang="0">
                  <a:pos x="460" y="0"/>
                </a:cxn>
                <a:cxn ang="0">
                  <a:pos x="460" y="60"/>
                </a:cxn>
                <a:cxn ang="0">
                  <a:pos x="0" y="400"/>
                </a:cxn>
              </a:cxnLst>
              <a:rect l="0" t="0" r="r" b="b"/>
              <a:pathLst>
                <a:path w="625" h="400">
                  <a:moveTo>
                    <a:pt x="0" y="400"/>
                  </a:moveTo>
                  <a:cubicBezTo>
                    <a:pt x="0" y="240"/>
                    <a:pt x="266" y="126"/>
                    <a:pt x="460" y="126"/>
                  </a:cubicBezTo>
                  <a:cubicBezTo>
                    <a:pt x="460" y="186"/>
                    <a:pt x="460" y="186"/>
                    <a:pt x="460" y="186"/>
                  </a:cubicBezTo>
                  <a:cubicBezTo>
                    <a:pt x="625" y="90"/>
                    <a:pt x="625" y="90"/>
                    <a:pt x="625" y="9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60"/>
                    <a:pt x="460" y="60"/>
                    <a:pt x="460" y="60"/>
                  </a:cubicBezTo>
                  <a:cubicBezTo>
                    <a:pt x="273" y="60"/>
                    <a:pt x="0" y="200"/>
                    <a:pt x="0" y="400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66845" tIns="511230" rIns="766845" bIns="511230" anchor="ctr"/>
            <a:lstStyle/>
            <a:p>
              <a:pPr algn="ctr" defTabSz="5693019">
                <a:defRPr/>
              </a:pPr>
              <a:endParaRPr lang="de-DE" sz="1232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465" name="Rectangle : coins arrondis 464">
              <a:extLst>
                <a:ext uri="{FF2B5EF4-FFF2-40B4-BE49-F238E27FC236}">
                  <a16:creationId xmlns:a16="http://schemas.microsoft.com/office/drawing/2014/main" id="{9BF82127-B3A1-4F11-8307-DA7F7AF5C7BF}"/>
                </a:ext>
              </a:extLst>
            </p:cNvPr>
            <p:cNvSpPr/>
            <p:nvPr/>
          </p:nvSpPr>
          <p:spPr bwMode="auto">
            <a:xfrm>
              <a:off x="-2115297" y="2377183"/>
              <a:ext cx="1700193" cy="601471"/>
            </a:xfrm>
            <a:prstGeom prst="roundRect">
              <a:avLst/>
            </a:prstGeom>
            <a:solidFill>
              <a:schemeClr val="bg1">
                <a:alpha val="20000"/>
              </a:schemeClr>
            </a:solidFill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993921">
                <a:lnSpc>
                  <a:spcPct val="80000"/>
                </a:lnSpc>
                <a:defRPr/>
              </a:pPr>
              <a:r>
                <a:rPr lang="fr-FR" sz="2240" b="1" kern="0" dirty="0">
                  <a:solidFill>
                    <a:srgbClr val="44546A"/>
                  </a:solidFill>
                  <a:latin typeface="Calibri"/>
                </a:rPr>
                <a:t>RUNWAY</a:t>
              </a:r>
            </a:p>
          </p:txBody>
        </p:sp>
        <p:sp>
          <p:nvSpPr>
            <p:cNvPr id="466" name="Freeform 7">
              <a:extLst>
                <a:ext uri="{FF2B5EF4-FFF2-40B4-BE49-F238E27FC236}">
                  <a16:creationId xmlns:a16="http://schemas.microsoft.com/office/drawing/2014/main" id="{B541810B-C1FF-47EA-A322-67DC845AB098}"/>
                </a:ext>
              </a:extLst>
            </p:cNvPr>
            <p:cNvSpPr>
              <a:spLocks/>
            </p:cNvSpPr>
            <p:nvPr/>
          </p:nvSpPr>
          <p:spPr bwMode="gray">
            <a:xfrm rot="8372223" flipV="1">
              <a:off x="-323165" y="2137769"/>
              <a:ext cx="931421" cy="607134"/>
            </a:xfrm>
            <a:custGeom>
              <a:avLst/>
              <a:gdLst/>
              <a:ahLst/>
              <a:cxnLst>
                <a:cxn ang="0">
                  <a:pos x="0" y="400"/>
                </a:cxn>
                <a:cxn ang="0">
                  <a:pos x="460" y="126"/>
                </a:cxn>
                <a:cxn ang="0">
                  <a:pos x="460" y="186"/>
                </a:cxn>
                <a:cxn ang="0">
                  <a:pos x="625" y="90"/>
                </a:cxn>
                <a:cxn ang="0">
                  <a:pos x="460" y="0"/>
                </a:cxn>
                <a:cxn ang="0">
                  <a:pos x="460" y="60"/>
                </a:cxn>
                <a:cxn ang="0">
                  <a:pos x="0" y="400"/>
                </a:cxn>
              </a:cxnLst>
              <a:rect l="0" t="0" r="r" b="b"/>
              <a:pathLst>
                <a:path w="625" h="400">
                  <a:moveTo>
                    <a:pt x="0" y="400"/>
                  </a:moveTo>
                  <a:cubicBezTo>
                    <a:pt x="0" y="240"/>
                    <a:pt x="266" y="126"/>
                    <a:pt x="460" y="126"/>
                  </a:cubicBezTo>
                  <a:cubicBezTo>
                    <a:pt x="460" y="186"/>
                    <a:pt x="460" y="186"/>
                    <a:pt x="460" y="186"/>
                  </a:cubicBezTo>
                  <a:cubicBezTo>
                    <a:pt x="625" y="90"/>
                    <a:pt x="625" y="90"/>
                    <a:pt x="625" y="9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60"/>
                    <a:pt x="460" y="60"/>
                    <a:pt x="460" y="60"/>
                  </a:cubicBezTo>
                  <a:cubicBezTo>
                    <a:pt x="273" y="60"/>
                    <a:pt x="0" y="200"/>
                    <a:pt x="0" y="400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66845" tIns="511230" rIns="766845" bIns="511230" anchor="ctr"/>
            <a:lstStyle/>
            <a:p>
              <a:pPr algn="ctr" defTabSz="5693019">
                <a:defRPr/>
              </a:pPr>
              <a:endParaRPr lang="de-DE" sz="1232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467" name="Freeform 7">
              <a:extLst>
                <a:ext uri="{FF2B5EF4-FFF2-40B4-BE49-F238E27FC236}">
                  <a16:creationId xmlns:a16="http://schemas.microsoft.com/office/drawing/2014/main" id="{73C374F7-93CE-4717-91A1-5E0C4681C5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39732" y="2465194"/>
              <a:ext cx="313433" cy="289919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txBody>
            <a:bodyPr lIns="599319" tIns="299662" rIns="599319" bIns="299662"/>
            <a:lstStyle/>
            <a:p>
              <a:pPr defTabSz="7796946">
                <a:defRPr/>
              </a:pPr>
              <a:endParaRPr lang="en-US" sz="3733"/>
            </a:p>
          </p:txBody>
        </p:sp>
        <p:sp>
          <p:nvSpPr>
            <p:cNvPr id="468" name="Rectangle : coins arrondis 467">
              <a:extLst>
                <a:ext uri="{FF2B5EF4-FFF2-40B4-BE49-F238E27FC236}">
                  <a16:creationId xmlns:a16="http://schemas.microsoft.com/office/drawing/2014/main" id="{CBC49865-EB1E-434C-9EAA-27A1761412A2}"/>
                </a:ext>
              </a:extLst>
            </p:cNvPr>
            <p:cNvSpPr/>
            <p:nvPr/>
          </p:nvSpPr>
          <p:spPr bwMode="auto">
            <a:xfrm>
              <a:off x="-2123512" y="3231953"/>
              <a:ext cx="1666793" cy="601471"/>
            </a:xfrm>
            <a:prstGeom prst="roundRect">
              <a:avLst/>
            </a:prstGeom>
            <a:solidFill>
              <a:schemeClr val="bg1">
                <a:alpha val="20000"/>
              </a:schemeClr>
            </a:solidFill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993921">
                <a:lnSpc>
                  <a:spcPct val="80000"/>
                </a:lnSpc>
                <a:defRPr/>
              </a:pPr>
              <a:r>
                <a:rPr lang="fr-FR" sz="2240" b="1" kern="0" dirty="0">
                  <a:solidFill>
                    <a:srgbClr val="44546A"/>
                  </a:solidFill>
                  <a:latin typeface="Calibri"/>
                </a:rPr>
                <a:t>FMEA</a:t>
              </a:r>
            </a:p>
          </p:txBody>
        </p:sp>
        <p:sp>
          <p:nvSpPr>
            <p:cNvPr id="469" name="Freeform 7">
              <a:extLst>
                <a:ext uri="{FF2B5EF4-FFF2-40B4-BE49-F238E27FC236}">
                  <a16:creationId xmlns:a16="http://schemas.microsoft.com/office/drawing/2014/main" id="{22BD5571-0601-4D1E-998A-EB854BC66D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53532" y="3402953"/>
              <a:ext cx="313433" cy="289919"/>
            </a:xfrm>
            <a:custGeom>
              <a:avLst/>
              <a:gdLst>
                <a:gd name="T0" fmla="*/ 13 w 64"/>
                <a:gd name="T1" fmla="*/ 45 h 67"/>
                <a:gd name="T2" fmla="*/ 13 w 64"/>
                <a:gd name="T3" fmla="*/ 63 h 67"/>
                <a:gd name="T4" fmla="*/ 9 w 64"/>
                <a:gd name="T5" fmla="*/ 67 h 67"/>
                <a:gd name="T6" fmla="*/ 5 w 64"/>
                <a:gd name="T7" fmla="*/ 67 h 67"/>
                <a:gd name="T8" fmla="*/ 1 w 64"/>
                <a:gd name="T9" fmla="*/ 63 h 67"/>
                <a:gd name="T10" fmla="*/ 1 w 64"/>
                <a:gd name="T11" fmla="*/ 45 h 67"/>
                <a:gd name="T12" fmla="*/ 5 w 64"/>
                <a:gd name="T13" fmla="*/ 41 h 67"/>
                <a:gd name="T14" fmla="*/ 9 w 64"/>
                <a:gd name="T15" fmla="*/ 41 h 67"/>
                <a:gd name="T16" fmla="*/ 13 w 64"/>
                <a:gd name="T17" fmla="*/ 45 h 67"/>
                <a:gd name="T18" fmla="*/ 26 w 64"/>
                <a:gd name="T19" fmla="*/ 26 h 67"/>
                <a:gd name="T20" fmla="*/ 22 w 64"/>
                <a:gd name="T21" fmla="*/ 26 h 67"/>
                <a:gd name="T22" fmla="*/ 18 w 64"/>
                <a:gd name="T23" fmla="*/ 30 h 67"/>
                <a:gd name="T24" fmla="*/ 18 w 64"/>
                <a:gd name="T25" fmla="*/ 63 h 67"/>
                <a:gd name="T26" fmla="*/ 22 w 64"/>
                <a:gd name="T27" fmla="*/ 67 h 67"/>
                <a:gd name="T28" fmla="*/ 26 w 64"/>
                <a:gd name="T29" fmla="*/ 67 h 67"/>
                <a:gd name="T30" fmla="*/ 30 w 64"/>
                <a:gd name="T31" fmla="*/ 63 h 67"/>
                <a:gd name="T32" fmla="*/ 30 w 64"/>
                <a:gd name="T33" fmla="*/ 30 h 67"/>
                <a:gd name="T34" fmla="*/ 26 w 64"/>
                <a:gd name="T35" fmla="*/ 26 h 67"/>
                <a:gd name="T36" fmla="*/ 43 w 64"/>
                <a:gd name="T37" fmla="*/ 32 h 67"/>
                <a:gd name="T38" fmla="*/ 39 w 64"/>
                <a:gd name="T39" fmla="*/ 32 h 67"/>
                <a:gd name="T40" fmla="*/ 35 w 64"/>
                <a:gd name="T41" fmla="*/ 36 h 67"/>
                <a:gd name="T42" fmla="*/ 35 w 64"/>
                <a:gd name="T43" fmla="*/ 63 h 67"/>
                <a:gd name="T44" fmla="*/ 39 w 64"/>
                <a:gd name="T45" fmla="*/ 67 h 67"/>
                <a:gd name="T46" fmla="*/ 43 w 64"/>
                <a:gd name="T47" fmla="*/ 67 h 67"/>
                <a:gd name="T48" fmla="*/ 47 w 64"/>
                <a:gd name="T49" fmla="*/ 63 h 67"/>
                <a:gd name="T50" fmla="*/ 47 w 64"/>
                <a:gd name="T51" fmla="*/ 36 h 67"/>
                <a:gd name="T52" fmla="*/ 43 w 64"/>
                <a:gd name="T53" fmla="*/ 32 h 67"/>
                <a:gd name="T54" fmla="*/ 60 w 64"/>
                <a:gd name="T55" fmla="*/ 18 h 67"/>
                <a:gd name="T56" fmla="*/ 56 w 64"/>
                <a:gd name="T57" fmla="*/ 18 h 67"/>
                <a:gd name="T58" fmla="*/ 52 w 64"/>
                <a:gd name="T59" fmla="*/ 22 h 67"/>
                <a:gd name="T60" fmla="*/ 52 w 64"/>
                <a:gd name="T61" fmla="*/ 63 h 67"/>
                <a:gd name="T62" fmla="*/ 56 w 64"/>
                <a:gd name="T63" fmla="*/ 67 h 67"/>
                <a:gd name="T64" fmla="*/ 60 w 64"/>
                <a:gd name="T65" fmla="*/ 67 h 67"/>
                <a:gd name="T66" fmla="*/ 64 w 64"/>
                <a:gd name="T67" fmla="*/ 63 h 67"/>
                <a:gd name="T68" fmla="*/ 64 w 64"/>
                <a:gd name="T69" fmla="*/ 22 h 67"/>
                <a:gd name="T70" fmla="*/ 60 w 64"/>
                <a:gd name="T71" fmla="*/ 18 h 67"/>
                <a:gd name="T72" fmla="*/ 21 w 64"/>
                <a:gd name="T73" fmla="*/ 13 h 67"/>
                <a:gd name="T74" fmla="*/ 41 w 64"/>
                <a:gd name="T75" fmla="*/ 27 h 67"/>
                <a:gd name="T76" fmla="*/ 58 w 64"/>
                <a:gd name="T77" fmla="*/ 5 h 67"/>
                <a:gd name="T78" fmla="*/ 60 w 64"/>
                <a:gd name="T79" fmla="*/ 6 h 67"/>
                <a:gd name="T80" fmla="*/ 60 w 64"/>
                <a:gd name="T81" fmla="*/ 0 h 67"/>
                <a:gd name="T82" fmla="*/ 55 w 64"/>
                <a:gd name="T83" fmla="*/ 3 h 67"/>
                <a:gd name="T84" fmla="*/ 56 w 64"/>
                <a:gd name="T85" fmla="*/ 4 h 67"/>
                <a:gd name="T86" fmla="*/ 40 w 64"/>
                <a:gd name="T87" fmla="*/ 23 h 67"/>
                <a:gd name="T88" fmla="*/ 21 w 64"/>
                <a:gd name="T89" fmla="*/ 10 h 67"/>
                <a:gd name="T90" fmla="*/ 0 w 64"/>
                <a:gd name="T91" fmla="*/ 29 h 67"/>
                <a:gd name="T92" fmla="*/ 2 w 64"/>
                <a:gd name="T93" fmla="*/ 31 h 67"/>
                <a:gd name="T94" fmla="*/ 21 w 64"/>
                <a:gd name="T95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67">
                  <a:moveTo>
                    <a:pt x="13" y="45"/>
                  </a:moveTo>
                  <a:cubicBezTo>
                    <a:pt x="13" y="63"/>
                    <a:pt x="13" y="63"/>
                    <a:pt x="13" y="63"/>
                  </a:cubicBezTo>
                  <a:cubicBezTo>
                    <a:pt x="13" y="65"/>
                    <a:pt x="11" y="67"/>
                    <a:pt x="9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3" y="67"/>
                    <a:pt x="1" y="65"/>
                    <a:pt x="1" y="63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3"/>
                    <a:pt x="3" y="41"/>
                    <a:pt x="5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11" y="41"/>
                    <a:pt x="13" y="43"/>
                    <a:pt x="13" y="45"/>
                  </a:cubicBezTo>
                  <a:close/>
                  <a:moveTo>
                    <a:pt x="26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0" y="26"/>
                    <a:pt x="18" y="28"/>
                    <a:pt x="18" y="30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5"/>
                    <a:pt x="20" y="67"/>
                    <a:pt x="22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8" y="67"/>
                    <a:pt x="30" y="65"/>
                    <a:pt x="30" y="63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28"/>
                    <a:pt x="28" y="26"/>
                    <a:pt x="26" y="26"/>
                  </a:cubicBezTo>
                  <a:close/>
                  <a:moveTo>
                    <a:pt x="43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7" y="32"/>
                    <a:pt x="35" y="34"/>
                    <a:pt x="35" y="36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5"/>
                    <a:pt x="37" y="67"/>
                    <a:pt x="39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5" y="67"/>
                    <a:pt x="47" y="65"/>
                    <a:pt x="47" y="63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45" y="32"/>
                    <a:pt x="43" y="32"/>
                  </a:cubicBezTo>
                  <a:close/>
                  <a:moveTo>
                    <a:pt x="60" y="18"/>
                  </a:moveTo>
                  <a:cubicBezTo>
                    <a:pt x="56" y="18"/>
                    <a:pt x="56" y="18"/>
                    <a:pt x="56" y="18"/>
                  </a:cubicBezTo>
                  <a:cubicBezTo>
                    <a:pt x="54" y="18"/>
                    <a:pt x="52" y="20"/>
                    <a:pt x="52" y="2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5"/>
                    <a:pt x="54" y="67"/>
                    <a:pt x="56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2" y="67"/>
                    <a:pt x="64" y="65"/>
                    <a:pt x="64" y="63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0"/>
                    <a:pt x="62" y="18"/>
                    <a:pt x="60" y="18"/>
                  </a:cubicBezTo>
                  <a:close/>
                  <a:moveTo>
                    <a:pt x="21" y="13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31"/>
                    <a:pt x="2" y="31"/>
                    <a:pt x="2" y="31"/>
                  </a:cubicBezTo>
                  <a:lnTo>
                    <a:pt x="21" y="1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lIns="599319" tIns="299662" rIns="599319" bIns="299662"/>
            <a:lstStyle/>
            <a:p>
              <a:pPr defTabSz="7796946">
                <a:defRPr/>
              </a:pPr>
              <a:endParaRPr lang="en-US" sz="3733"/>
            </a:p>
          </p:txBody>
        </p:sp>
        <p:sp>
          <p:nvSpPr>
            <p:cNvPr id="470" name="Freeform 7">
              <a:extLst>
                <a:ext uri="{FF2B5EF4-FFF2-40B4-BE49-F238E27FC236}">
                  <a16:creationId xmlns:a16="http://schemas.microsoft.com/office/drawing/2014/main" id="{9A7FEFD5-E252-4E7B-9F2B-446FDFA3C9EC}"/>
                </a:ext>
              </a:extLst>
            </p:cNvPr>
            <p:cNvSpPr>
              <a:spLocks/>
            </p:cNvSpPr>
            <p:nvPr/>
          </p:nvSpPr>
          <p:spPr bwMode="gray">
            <a:xfrm rot="8372223" flipV="1">
              <a:off x="-337341" y="3015633"/>
              <a:ext cx="931421" cy="607134"/>
            </a:xfrm>
            <a:custGeom>
              <a:avLst/>
              <a:gdLst/>
              <a:ahLst/>
              <a:cxnLst>
                <a:cxn ang="0">
                  <a:pos x="0" y="400"/>
                </a:cxn>
                <a:cxn ang="0">
                  <a:pos x="460" y="126"/>
                </a:cxn>
                <a:cxn ang="0">
                  <a:pos x="460" y="186"/>
                </a:cxn>
                <a:cxn ang="0">
                  <a:pos x="625" y="90"/>
                </a:cxn>
                <a:cxn ang="0">
                  <a:pos x="460" y="0"/>
                </a:cxn>
                <a:cxn ang="0">
                  <a:pos x="460" y="60"/>
                </a:cxn>
                <a:cxn ang="0">
                  <a:pos x="0" y="400"/>
                </a:cxn>
              </a:cxnLst>
              <a:rect l="0" t="0" r="r" b="b"/>
              <a:pathLst>
                <a:path w="625" h="400">
                  <a:moveTo>
                    <a:pt x="0" y="400"/>
                  </a:moveTo>
                  <a:cubicBezTo>
                    <a:pt x="0" y="240"/>
                    <a:pt x="266" y="126"/>
                    <a:pt x="460" y="126"/>
                  </a:cubicBezTo>
                  <a:cubicBezTo>
                    <a:pt x="460" y="186"/>
                    <a:pt x="460" y="186"/>
                    <a:pt x="460" y="186"/>
                  </a:cubicBezTo>
                  <a:cubicBezTo>
                    <a:pt x="625" y="90"/>
                    <a:pt x="625" y="90"/>
                    <a:pt x="625" y="9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60"/>
                    <a:pt x="460" y="60"/>
                    <a:pt x="460" y="60"/>
                  </a:cubicBezTo>
                  <a:cubicBezTo>
                    <a:pt x="273" y="60"/>
                    <a:pt x="0" y="200"/>
                    <a:pt x="0" y="400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66845" tIns="511230" rIns="766845" bIns="511230" anchor="ctr"/>
            <a:lstStyle/>
            <a:p>
              <a:pPr algn="ctr" defTabSz="5693019">
                <a:defRPr/>
              </a:pPr>
              <a:endParaRPr lang="de-DE" sz="1232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471" name="Freeform 7">
              <a:extLst>
                <a:ext uri="{FF2B5EF4-FFF2-40B4-BE49-F238E27FC236}">
                  <a16:creationId xmlns:a16="http://schemas.microsoft.com/office/drawing/2014/main" id="{CA1A9B6D-87D9-4FD2-8A38-AAE77D45E6B2}"/>
                </a:ext>
              </a:extLst>
            </p:cNvPr>
            <p:cNvSpPr>
              <a:spLocks/>
            </p:cNvSpPr>
            <p:nvPr/>
          </p:nvSpPr>
          <p:spPr bwMode="gray">
            <a:xfrm rot="8372223" flipV="1">
              <a:off x="-96299" y="3803413"/>
              <a:ext cx="931421" cy="607134"/>
            </a:xfrm>
            <a:custGeom>
              <a:avLst/>
              <a:gdLst/>
              <a:ahLst/>
              <a:cxnLst>
                <a:cxn ang="0">
                  <a:pos x="0" y="400"/>
                </a:cxn>
                <a:cxn ang="0">
                  <a:pos x="460" y="126"/>
                </a:cxn>
                <a:cxn ang="0">
                  <a:pos x="460" y="186"/>
                </a:cxn>
                <a:cxn ang="0">
                  <a:pos x="625" y="90"/>
                </a:cxn>
                <a:cxn ang="0">
                  <a:pos x="460" y="0"/>
                </a:cxn>
                <a:cxn ang="0">
                  <a:pos x="460" y="60"/>
                </a:cxn>
                <a:cxn ang="0">
                  <a:pos x="0" y="400"/>
                </a:cxn>
              </a:cxnLst>
              <a:rect l="0" t="0" r="r" b="b"/>
              <a:pathLst>
                <a:path w="625" h="400">
                  <a:moveTo>
                    <a:pt x="0" y="400"/>
                  </a:moveTo>
                  <a:cubicBezTo>
                    <a:pt x="0" y="240"/>
                    <a:pt x="266" y="126"/>
                    <a:pt x="460" y="126"/>
                  </a:cubicBezTo>
                  <a:cubicBezTo>
                    <a:pt x="460" y="186"/>
                    <a:pt x="460" y="186"/>
                    <a:pt x="460" y="186"/>
                  </a:cubicBezTo>
                  <a:cubicBezTo>
                    <a:pt x="625" y="90"/>
                    <a:pt x="625" y="90"/>
                    <a:pt x="625" y="9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60"/>
                    <a:pt x="460" y="60"/>
                    <a:pt x="460" y="60"/>
                  </a:cubicBezTo>
                  <a:cubicBezTo>
                    <a:pt x="273" y="60"/>
                    <a:pt x="0" y="200"/>
                    <a:pt x="0" y="400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66845" tIns="511230" rIns="766845" bIns="511230" anchor="ctr"/>
            <a:lstStyle/>
            <a:p>
              <a:pPr algn="ctr" defTabSz="5693019">
                <a:defRPr/>
              </a:pPr>
              <a:endParaRPr lang="de-DE" sz="1232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endParaRPr>
            </a:p>
          </p:txBody>
        </p:sp>
        <p:sp>
          <p:nvSpPr>
            <p:cNvPr id="472" name="Freeform 7">
              <a:extLst>
                <a:ext uri="{FF2B5EF4-FFF2-40B4-BE49-F238E27FC236}">
                  <a16:creationId xmlns:a16="http://schemas.microsoft.com/office/drawing/2014/main" id="{14F80131-5BEE-4026-94AC-DD0B5DF8A509}"/>
                </a:ext>
              </a:extLst>
            </p:cNvPr>
            <p:cNvSpPr>
              <a:spLocks/>
            </p:cNvSpPr>
            <p:nvPr/>
          </p:nvSpPr>
          <p:spPr bwMode="gray">
            <a:xfrm rot="19260984" flipV="1">
              <a:off x="150770" y="4130543"/>
              <a:ext cx="931421" cy="607134"/>
            </a:xfrm>
            <a:custGeom>
              <a:avLst/>
              <a:gdLst/>
              <a:ahLst/>
              <a:cxnLst>
                <a:cxn ang="0">
                  <a:pos x="0" y="400"/>
                </a:cxn>
                <a:cxn ang="0">
                  <a:pos x="460" y="126"/>
                </a:cxn>
                <a:cxn ang="0">
                  <a:pos x="460" y="186"/>
                </a:cxn>
                <a:cxn ang="0">
                  <a:pos x="625" y="90"/>
                </a:cxn>
                <a:cxn ang="0">
                  <a:pos x="460" y="0"/>
                </a:cxn>
                <a:cxn ang="0">
                  <a:pos x="460" y="60"/>
                </a:cxn>
                <a:cxn ang="0">
                  <a:pos x="0" y="400"/>
                </a:cxn>
              </a:cxnLst>
              <a:rect l="0" t="0" r="r" b="b"/>
              <a:pathLst>
                <a:path w="625" h="400">
                  <a:moveTo>
                    <a:pt x="0" y="400"/>
                  </a:moveTo>
                  <a:cubicBezTo>
                    <a:pt x="0" y="240"/>
                    <a:pt x="266" y="126"/>
                    <a:pt x="460" y="126"/>
                  </a:cubicBezTo>
                  <a:cubicBezTo>
                    <a:pt x="460" y="186"/>
                    <a:pt x="460" y="186"/>
                    <a:pt x="460" y="186"/>
                  </a:cubicBezTo>
                  <a:cubicBezTo>
                    <a:pt x="625" y="90"/>
                    <a:pt x="625" y="90"/>
                    <a:pt x="625" y="9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60"/>
                    <a:pt x="460" y="60"/>
                    <a:pt x="460" y="60"/>
                  </a:cubicBezTo>
                  <a:cubicBezTo>
                    <a:pt x="273" y="60"/>
                    <a:pt x="0" y="200"/>
                    <a:pt x="0" y="400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accent1">
                  <a:lumMod val="60000"/>
                  <a:lumOff val="40000"/>
                </a:schemeClr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66845" tIns="511230" rIns="766845" bIns="511230" anchor="ctr"/>
            <a:lstStyle/>
            <a:p>
              <a:pPr algn="ctr" defTabSz="5693019">
                <a:defRPr/>
              </a:pPr>
              <a:endParaRPr lang="de-DE" sz="1232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cs typeface="Arial" charset="0"/>
              </a:endParaRPr>
            </a:p>
          </p:txBody>
        </p:sp>
      </p:grpSp>
      <p:pic>
        <p:nvPicPr>
          <p:cNvPr id="6" name="Image 5">
            <a:extLst>
              <a:ext uri="{FF2B5EF4-FFF2-40B4-BE49-F238E27FC236}">
                <a16:creationId xmlns:a16="http://schemas.microsoft.com/office/drawing/2014/main" id="{29CAFC66-A034-424F-AA24-E6F9481F52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432812" y="9415463"/>
            <a:ext cx="368788" cy="202102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9E0EA11-CC3F-4860-B5FC-79182EBC8C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45932" y="-7871"/>
            <a:ext cx="1800786" cy="753310"/>
          </a:xfrm>
          <a:prstGeom prst="rect">
            <a:avLst/>
          </a:prstGeom>
        </p:spPr>
      </p:pic>
      <p:sp>
        <p:nvSpPr>
          <p:cNvPr id="9" name="ZoneTexte 103">
            <a:extLst>
              <a:ext uri="{FF2B5EF4-FFF2-40B4-BE49-F238E27FC236}">
                <a16:creationId xmlns:a16="http://schemas.microsoft.com/office/drawing/2014/main" id="{2AFE4721-C791-4E29-A907-1A9A74932079}"/>
              </a:ext>
            </a:extLst>
          </p:cNvPr>
          <p:cNvSpPr txBox="1"/>
          <p:nvPr/>
        </p:nvSpPr>
        <p:spPr>
          <a:xfrm>
            <a:off x="7916264" y="-7871"/>
            <a:ext cx="2837587" cy="708283"/>
          </a:xfrm>
          <a:prstGeom prst="rect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>
                <a:lumMod val="95000"/>
              </a:schemeClr>
            </a:solidFill>
          </a:ln>
        </p:spPr>
        <p:txBody>
          <a:bodyPr wrap="none">
            <a:noAutofit/>
          </a:bodyPr>
          <a:lstStyle>
            <a:defPPr>
              <a:defRPr lang="fr-FR"/>
            </a:defPPr>
            <a:lvl1pPr marL="0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53410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06819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60229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13638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267048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20457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973867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827276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796144">
              <a:defRPr/>
            </a:pPr>
            <a:r>
              <a:rPr lang="fr-FR" sz="1100" b="1" dirty="0">
                <a:solidFill>
                  <a:schemeClr val="accent5"/>
                </a:solidFill>
                <a:latin typeface="Gotham Rounded Bold" pitchFamily="50" charset="0"/>
                <a:cs typeface="Aharoni" panose="02010803020104030203" pitchFamily="2" charset="-79"/>
              </a:rPr>
              <a:t>CONTINUOUS UPDATE</a:t>
            </a:r>
          </a:p>
          <a:p>
            <a:pPr algn="ctr" defTabSz="7796144">
              <a:defRPr/>
            </a:pPr>
            <a:endParaRPr lang="fr-FR" sz="1100" b="1" dirty="0">
              <a:solidFill>
                <a:schemeClr val="accent5"/>
              </a:solidFill>
              <a:latin typeface="Gotham Rounded Bold" pitchFamily="50" charset="0"/>
              <a:cs typeface="Aharoni" panose="02010803020104030203" pitchFamily="2" charset="-79"/>
            </a:endParaRPr>
          </a:p>
          <a:p>
            <a:pPr algn="ctr" defTabSz="7796144">
              <a:defRPr/>
            </a:pPr>
            <a:r>
              <a:rPr lang="fr-FR" sz="1100" b="1" dirty="0">
                <a:solidFill>
                  <a:schemeClr val="tx2"/>
                </a:solidFill>
                <a:latin typeface="Gotham Rounded Bold" pitchFamily="50" charset="0"/>
                <a:cs typeface="Aharoni" panose="02010803020104030203" pitchFamily="2" charset="-79"/>
              </a:rPr>
              <a:t>SPRINT </a:t>
            </a:r>
          </a:p>
          <a:p>
            <a:pPr algn="ctr" defTabSz="7796144">
              <a:defRPr/>
            </a:pPr>
            <a:r>
              <a:rPr lang="fr-FR" sz="1050" b="1" dirty="0">
                <a:solidFill>
                  <a:schemeClr val="tx2"/>
                </a:solidFill>
                <a:latin typeface="Gotham Rounded Bold" pitchFamily="50" charset="0"/>
                <a:cs typeface="Aharoni" panose="02010803020104030203" pitchFamily="2" charset="-79"/>
              </a:rPr>
              <a:t>TESTING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19344609-55E8-4F74-9D8A-924C9FEBA65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7719" y="233591"/>
            <a:ext cx="474097" cy="428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361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que 1">
            <a:extLst>
              <a:ext uri="{FF2B5EF4-FFF2-40B4-BE49-F238E27FC236}">
                <a16:creationId xmlns:a16="http://schemas.microsoft.com/office/drawing/2014/main" id="{DE16AB52-3648-4973-801C-2FF5EAB41DC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t="18811" r="10473" b="3123"/>
          <a:stretch/>
        </p:blipFill>
        <p:spPr>
          <a:xfrm>
            <a:off x="-29978" y="744757"/>
            <a:ext cx="12847320" cy="8822191"/>
          </a:xfrm>
          <a:prstGeom prst="rect">
            <a:avLst/>
          </a:prstGeom>
        </p:spPr>
      </p:pic>
      <p:pic>
        <p:nvPicPr>
          <p:cNvPr id="8" name="Graphique 7">
            <a:extLst>
              <a:ext uri="{FF2B5EF4-FFF2-40B4-BE49-F238E27FC236}">
                <a16:creationId xmlns:a16="http://schemas.microsoft.com/office/drawing/2014/main" id="{3A063ABE-1C6F-4ACE-B515-CE5E47CA7A7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6316" t="16776" r="9012"/>
          <a:stretch/>
        </p:blipFill>
        <p:spPr>
          <a:xfrm>
            <a:off x="-243972" y="-9873718"/>
            <a:ext cx="12801602" cy="8891409"/>
          </a:xfrm>
          <a:prstGeom prst="rect">
            <a:avLst/>
          </a:prstGeom>
        </p:spPr>
      </p:pic>
      <p:sp>
        <p:nvSpPr>
          <p:cNvPr id="46" name="Ellipse 45">
            <a:extLst>
              <a:ext uri="{FF2B5EF4-FFF2-40B4-BE49-F238E27FC236}">
                <a16:creationId xmlns:a16="http://schemas.microsoft.com/office/drawing/2014/main" id="{DB7AE643-B18F-4994-A7D1-12BEF21B5EAA}"/>
              </a:ext>
            </a:extLst>
          </p:cNvPr>
          <p:cNvSpPr/>
          <p:nvPr/>
        </p:nvSpPr>
        <p:spPr>
          <a:xfrm>
            <a:off x="4228489" y="3098273"/>
            <a:ext cx="3976261" cy="3938263"/>
          </a:xfrm>
          <a:prstGeom prst="ellipse">
            <a:avLst/>
          </a:prstGeom>
          <a:solidFill>
            <a:schemeClr val="accent3">
              <a:lumMod val="40000"/>
              <a:lumOff val="60000"/>
              <a:alpha val="13000"/>
            </a:schemeClr>
          </a:solidFill>
          <a:ln w="57150">
            <a:solidFill>
              <a:srgbClr val="DADAD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6272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8340DB0B-ADB4-47C4-8983-449A32C56BD3}"/>
              </a:ext>
            </a:extLst>
          </p:cNvPr>
          <p:cNvSpPr txBox="1"/>
          <p:nvPr/>
        </p:nvSpPr>
        <p:spPr>
          <a:xfrm>
            <a:off x="4268399" y="828488"/>
            <a:ext cx="3578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>
                <a:solidFill>
                  <a:schemeClr val="accent6"/>
                </a:solidFill>
                <a:latin typeface="Gotham Rounded Bold" pitchFamily="50" charset="0"/>
              </a:rPr>
              <a:t>01 – ARCHITECTURE STAKES</a:t>
            </a:r>
          </a:p>
        </p:txBody>
      </p:sp>
      <p:sp>
        <p:nvSpPr>
          <p:cNvPr id="156" name="ZoneTexte 155">
            <a:extLst>
              <a:ext uri="{FF2B5EF4-FFF2-40B4-BE49-F238E27FC236}">
                <a16:creationId xmlns:a16="http://schemas.microsoft.com/office/drawing/2014/main" id="{ED1B3135-522D-4BAC-8623-9E6F7FD6A379}"/>
              </a:ext>
            </a:extLst>
          </p:cNvPr>
          <p:cNvSpPr txBox="1"/>
          <p:nvPr/>
        </p:nvSpPr>
        <p:spPr>
          <a:xfrm rot="5400000">
            <a:off x="9429070" y="4396301"/>
            <a:ext cx="6454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900">
                <a:solidFill>
                  <a:srgbClr val="95C11F"/>
                </a:solidFill>
                <a:latin typeface="Michelin Black" panose="02000000000000000000" pitchFamily="50" charset="0"/>
              </a:defRPr>
            </a:lvl1pPr>
          </a:lstStyle>
          <a:p>
            <a:pPr algn="ctr"/>
            <a:r>
              <a:rPr lang="fr-FR" sz="1800" dirty="0">
                <a:latin typeface="Gotham Rounded Bold" pitchFamily="50" charset="0"/>
              </a:rPr>
              <a:t>02 – FOCUS</a:t>
            </a:r>
          </a:p>
        </p:txBody>
      </p:sp>
      <p:sp>
        <p:nvSpPr>
          <p:cNvPr id="159" name="ZoneTexte 158">
            <a:extLst>
              <a:ext uri="{FF2B5EF4-FFF2-40B4-BE49-F238E27FC236}">
                <a16:creationId xmlns:a16="http://schemas.microsoft.com/office/drawing/2014/main" id="{6BA316F5-4FC9-489D-996F-4AE36D0BBF68}"/>
              </a:ext>
            </a:extLst>
          </p:cNvPr>
          <p:cNvSpPr txBox="1"/>
          <p:nvPr/>
        </p:nvSpPr>
        <p:spPr>
          <a:xfrm>
            <a:off x="1022684" y="9260379"/>
            <a:ext cx="51341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100">
                <a:solidFill>
                  <a:srgbClr val="95C11F"/>
                </a:solidFill>
                <a:latin typeface="Michelin Black" panose="02000000000000000000" pitchFamily="50" charset="0"/>
              </a:defRPr>
            </a:lvl1pPr>
          </a:lstStyle>
          <a:p>
            <a:r>
              <a:rPr lang="fr-FR" sz="1800" dirty="0">
                <a:latin typeface="Gotham Rounded Bold" pitchFamily="50" charset="0"/>
              </a:rPr>
              <a:t>04 – EMPOWER </a:t>
            </a:r>
          </a:p>
        </p:txBody>
      </p:sp>
      <p:sp>
        <p:nvSpPr>
          <p:cNvPr id="160" name="ZoneTexte 159">
            <a:extLst>
              <a:ext uri="{FF2B5EF4-FFF2-40B4-BE49-F238E27FC236}">
                <a16:creationId xmlns:a16="http://schemas.microsoft.com/office/drawing/2014/main" id="{7D3B52FC-8136-4D95-9472-B80AB9717482}"/>
              </a:ext>
            </a:extLst>
          </p:cNvPr>
          <p:cNvSpPr txBox="1"/>
          <p:nvPr/>
        </p:nvSpPr>
        <p:spPr>
          <a:xfrm rot="16200000">
            <a:off x="-1329244" y="4465255"/>
            <a:ext cx="3014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dirty="0">
                <a:solidFill>
                  <a:srgbClr val="95C11F"/>
                </a:solidFill>
                <a:latin typeface="Gotham Rounded Bold" pitchFamily="50" charset="0"/>
              </a:rPr>
              <a:t>05 –IMPLEMENT</a:t>
            </a:r>
          </a:p>
        </p:txBody>
      </p:sp>
      <p:sp>
        <p:nvSpPr>
          <p:cNvPr id="171" name="Ellipse 170">
            <a:extLst>
              <a:ext uri="{FF2B5EF4-FFF2-40B4-BE49-F238E27FC236}">
                <a16:creationId xmlns:a16="http://schemas.microsoft.com/office/drawing/2014/main" id="{C4278D43-BD15-40E3-BA7F-17C7F020C7C7}"/>
              </a:ext>
            </a:extLst>
          </p:cNvPr>
          <p:cNvSpPr/>
          <p:nvPr/>
        </p:nvSpPr>
        <p:spPr>
          <a:xfrm>
            <a:off x="5585737" y="4448780"/>
            <a:ext cx="1276800" cy="127680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5847107">
              <a:defRPr/>
            </a:pPr>
            <a:endParaRPr lang="fr-FR" sz="6272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247EAB07-71C8-40E5-A3A2-8933E2EA12A9}"/>
              </a:ext>
            </a:extLst>
          </p:cNvPr>
          <p:cNvCxnSpPr>
            <a:cxnSpLocks/>
            <a:endCxn id="46" idx="0"/>
          </p:cNvCxnSpPr>
          <p:nvPr/>
        </p:nvCxnSpPr>
        <p:spPr>
          <a:xfrm>
            <a:off x="6216620" y="2727847"/>
            <a:ext cx="0" cy="37042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5" name="Connecteur droit 194">
            <a:extLst>
              <a:ext uri="{FF2B5EF4-FFF2-40B4-BE49-F238E27FC236}">
                <a16:creationId xmlns:a16="http://schemas.microsoft.com/office/drawing/2014/main" id="{59971B0E-D5D7-4133-97CF-113F5AE8CC19}"/>
              </a:ext>
            </a:extLst>
          </p:cNvPr>
          <p:cNvCxnSpPr>
            <a:cxnSpLocks/>
          </p:cNvCxnSpPr>
          <p:nvPr/>
        </p:nvCxnSpPr>
        <p:spPr>
          <a:xfrm flipH="1" flipV="1">
            <a:off x="7170671" y="6828134"/>
            <a:ext cx="776556" cy="109507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8" name="ZoneTexte 157">
            <a:extLst>
              <a:ext uri="{FF2B5EF4-FFF2-40B4-BE49-F238E27FC236}">
                <a16:creationId xmlns:a16="http://schemas.microsoft.com/office/drawing/2014/main" id="{A1D5ED06-E670-479B-8E1A-48E50FA26089}"/>
              </a:ext>
            </a:extLst>
          </p:cNvPr>
          <p:cNvSpPr txBox="1"/>
          <p:nvPr/>
        </p:nvSpPr>
        <p:spPr>
          <a:xfrm>
            <a:off x="7858555" y="9290618"/>
            <a:ext cx="3710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100">
                <a:solidFill>
                  <a:srgbClr val="95C11F"/>
                </a:solidFill>
                <a:latin typeface="Michelin Black" panose="02000000000000000000" pitchFamily="50" charset="0"/>
              </a:defRPr>
            </a:lvl1pPr>
          </a:lstStyle>
          <a:p>
            <a:r>
              <a:rPr lang="fr-FR" sz="1800" dirty="0">
                <a:latin typeface="Gotham Rounded Bold" pitchFamily="50" charset="0"/>
              </a:rPr>
              <a:t>03 – DEFINE</a:t>
            </a:r>
          </a:p>
        </p:txBody>
      </p:sp>
      <p:cxnSp>
        <p:nvCxnSpPr>
          <p:cNvPr id="199" name="Connecteur droit 198">
            <a:extLst>
              <a:ext uri="{FF2B5EF4-FFF2-40B4-BE49-F238E27FC236}">
                <a16:creationId xmlns:a16="http://schemas.microsoft.com/office/drawing/2014/main" id="{CF6D7B76-48EA-4721-9100-0274AFE81FC8}"/>
              </a:ext>
            </a:extLst>
          </p:cNvPr>
          <p:cNvCxnSpPr>
            <a:cxnSpLocks/>
            <a:stCxn id="130" idx="3"/>
          </p:cNvCxnSpPr>
          <p:nvPr/>
        </p:nvCxnSpPr>
        <p:spPr>
          <a:xfrm flipH="1">
            <a:off x="8028426" y="3658897"/>
            <a:ext cx="928011" cy="6432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7" name="Connecteur droit 216">
            <a:extLst>
              <a:ext uri="{FF2B5EF4-FFF2-40B4-BE49-F238E27FC236}">
                <a16:creationId xmlns:a16="http://schemas.microsoft.com/office/drawing/2014/main" id="{6FBE09BB-0F4B-41CF-BB31-945FF38EC09F}"/>
              </a:ext>
            </a:extLst>
          </p:cNvPr>
          <p:cNvCxnSpPr>
            <a:cxnSpLocks/>
          </p:cNvCxnSpPr>
          <p:nvPr/>
        </p:nvCxnSpPr>
        <p:spPr>
          <a:xfrm flipV="1">
            <a:off x="4167148" y="6609978"/>
            <a:ext cx="747679" cy="53471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5" name="Graphique 104">
            <a:extLst>
              <a:ext uri="{FF2B5EF4-FFF2-40B4-BE49-F238E27FC236}">
                <a16:creationId xmlns:a16="http://schemas.microsoft.com/office/drawing/2014/main" id="{81BD2438-6402-4492-AE07-ABF537CCF1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83791" y="4478640"/>
            <a:ext cx="265657" cy="256168"/>
          </a:xfrm>
          <a:prstGeom prst="rect">
            <a:avLst/>
          </a:prstGeom>
        </p:spPr>
      </p:pic>
      <p:sp>
        <p:nvSpPr>
          <p:cNvPr id="107" name="Corde 106">
            <a:extLst>
              <a:ext uri="{FF2B5EF4-FFF2-40B4-BE49-F238E27FC236}">
                <a16:creationId xmlns:a16="http://schemas.microsoft.com/office/drawing/2014/main" id="{61D3F38C-67B8-4B2E-A186-0067DF115D9A}"/>
              </a:ext>
            </a:extLst>
          </p:cNvPr>
          <p:cNvSpPr/>
          <p:nvPr/>
        </p:nvSpPr>
        <p:spPr>
          <a:xfrm rot="5400000" flipH="1">
            <a:off x="5753860" y="4664502"/>
            <a:ext cx="933751" cy="1137836"/>
          </a:xfrm>
          <a:prstGeom prst="chord">
            <a:avLst>
              <a:gd name="adj1" fmla="val 6053149"/>
              <a:gd name="adj2" fmla="val 15555492"/>
            </a:avLst>
          </a:prstGeom>
          <a:solidFill>
            <a:schemeClr val="bg1">
              <a:alpha val="27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6272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436EDD4B-FC4C-493A-8F97-01F8261AF437}"/>
              </a:ext>
            </a:extLst>
          </p:cNvPr>
          <p:cNvSpPr/>
          <p:nvPr/>
        </p:nvSpPr>
        <p:spPr>
          <a:xfrm>
            <a:off x="5695899" y="4691687"/>
            <a:ext cx="1041439" cy="149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706869">
              <a:defRPr/>
            </a:pPr>
            <a:r>
              <a:rPr lang="fr-FR" sz="373" b="1" dirty="0">
                <a:solidFill>
                  <a:prstClr val="white">
                    <a:lumMod val="50000"/>
                  </a:prstClr>
                </a:solidFill>
                <a:latin typeface="Michelin SemiBold"/>
              </a:rPr>
              <a:t>FULL STACK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C69D7EBA-ABC4-4B4B-A7D9-3AAE014EDB09}"/>
              </a:ext>
            </a:extLst>
          </p:cNvPr>
          <p:cNvGrpSpPr/>
          <p:nvPr/>
        </p:nvGrpSpPr>
        <p:grpSpPr>
          <a:xfrm>
            <a:off x="3915557" y="1194656"/>
            <a:ext cx="4638347" cy="1492240"/>
            <a:chOff x="3044636" y="7387080"/>
            <a:chExt cx="4395994" cy="1526725"/>
          </a:xfrm>
        </p:grpSpPr>
        <p:sp>
          <p:nvSpPr>
            <p:cNvPr id="106" name="Rectangle 2">
              <a:extLst>
                <a:ext uri="{FF2B5EF4-FFF2-40B4-BE49-F238E27FC236}">
                  <a16:creationId xmlns:a16="http://schemas.microsoft.com/office/drawing/2014/main" id="{CBF2D5A7-90D7-49C5-AE68-B9215C8C6E41}"/>
                </a:ext>
              </a:extLst>
            </p:cNvPr>
            <p:cNvSpPr/>
            <p:nvPr/>
          </p:nvSpPr>
          <p:spPr>
            <a:xfrm rot="10800000">
              <a:off x="3044636" y="7422788"/>
              <a:ext cx="4395994" cy="1491017"/>
            </a:xfrm>
            <a:prstGeom prst="roundRect">
              <a:avLst/>
            </a:prstGeom>
            <a:solidFill>
              <a:schemeClr val="bg1">
                <a:lumMod val="5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47"/>
            </a:p>
          </p:txBody>
        </p:sp>
        <p:sp>
          <p:nvSpPr>
            <p:cNvPr id="110" name="Espace réservé du contenu 7">
              <a:extLst>
                <a:ext uri="{FF2B5EF4-FFF2-40B4-BE49-F238E27FC236}">
                  <a16:creationId xmlns:a16="http://schemas.microsoft.com/office/drawing/2014/main" id="{37E788DF-4B50-4D53-AF2B-3828FE47EA8E}"/>
                </a:ext>
              </a:extLst>
            </p:cNvPr>
            <p:cNvSpPr txBox="1">
              <a:spLocks/>
            </p:cNvSpPr>
            <p:nvPr/>
          </p:nvSpPr>
          <p:spPr>
            <a:xfrm>
              <a:off x="3114350" y="7387080"/>
              <a:ext cx="2245381" cy="384541"/>
            </a:xfrm>
            <a:prstGeom prst="rect">
              <a:avLst/>
            </a:prstGeom>
            <a:noFill/>
          </p:spPr>
          <p:txBody>
            <a:bodyPr/>
            <a:lstStyle>
              <a:lvl1pPr marL="0" indent="0" algn="l" defTabSz="914400" rtl="0" eaLnBrk="1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0"/>
                </a:spcAft>
                <a:buFont typeface="Arial" pitchFamily="34" charset="0"/>
                <a:buNone/>
                <a:defRPr sz="2400" b="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None/>
                <a:defRPr sz="1600" b="1" kern="1200" cap="all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2pPr>
              <a:lvl3pPr marL="0" indent="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None/>
                <a:defRPr sz="130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3pPr>
              <a:lvl4pPr marL="0" indent="-18000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Char char="l"/>
                <a:defRPr sz="120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4pPr>
              <a:lvl5pPr marL="180000" indent="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Font typeface="Wingdings" pitchFamily="2" charset="2"/>
                <a:buNone/>
                <a:defRPr sz="120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5pPr>
              <a:lvl6pPr marL="540000" indent="-180000" algn="just" defTabSz="89535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rgbClr val="5E514D"/>
                </a:buClr>
                <a:buSzPct val="150000"/>
                <a:buFont typeface="Lucida Grande"/>
                <a:buChar char="•"/>
                <a:defRPr sz="1200" b="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6pPr>
              <a:lvl7pPr marL="540000" indent="0" algn="just" defTabSz="89535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FontTx/>
                <a:buNone/>
                <a:defRPr sz="1200" b="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7pPr>
              <a:lvl8pPr marL="900000" indent="-180975" algn="just" defTabSz="89535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SzPct val="80000"/>
                <a:buFont typeface="Wingdings" pitchFamily="2" charset="2"/>
                <a:buChar char="l"/>
                <a:defRPr sz="1200" b="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ct val="20000"/>
                </a:spcBef>
                <a:buFontTx/>
                <a:buNone/>
                <a:defRPr sz="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3" indent="0" algn="l" hangingPunct="0">
                <a:buClr>
                  <a:schemeClr val="tx1">
                    <a:lumMod val="95000"/>
                    <a:lumOff val="5000"/>
                  </a:schemeClr>
                </a:buClr>
                <a:buNone/>
              </a:pPr>
              <a:r>
                <a:rPr lang="fr-FR" sz="1120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ARCHITECTURE STAKE</a:t>
              </a:r>
            </a:p>
            <a:p>
              <a:pPr lvl="3" indent="0" algn="l" hangingPunct="0">
                <a:buClr>
                  <a:schemeClr val="tx1">
                    <a:lumMod val="95000"/>
                    <a:lumOff val="5000"/>
                  </a:schemeClr>
                </a:buClr>
                <a:buNone/>
              </a:pPr>
              <a:r>
                <a:rPr lang="fr-FR" sz="1120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 </a:t>
              </a:r>
              <a:endParaRPr lang="fr-FR" sz="1120" dirty="0">
                <a:solidFill>
                  <a:schemeClr val="bg1"/>
                </a:solidFill>
                <a:latin typeface="Gotham Rounded BoLD"/>
                <a:cs typeface="Arial" pitchFamily="34" charset="0"/>
              </a:endParaRPr>
            </a:p>
            <a:p>
              <a:pPr marL="656052" lvl="4" indent="-320046" algn="l" hangingPunct="0">
                <a:buClr>
                  <a:schemeClr val="tx2"/>
                </a:buClr>
                <a:buFontTx/>
                <a:buChar char="-"/>
              </a:pPr>
              <a:endParaRPr lang="fr-FR" sz="1120" dirty="0">
                <a:solidFill>
                  <a:schemeClr val="bg1"/>
                </a:solidFill>
                <a:latin typeface="Gotham Rounded BoLD"/>
                <a:cs typeface="Arial" pitchFamily="34" charset="0"/>
              </a:endParaRPr>
            </a:p>
            <a:p>
              <a:pPr marL="576041" lvl="4" indent="-240035" algn="l" hangingPunct="0">
                <a:buClr>
                  <a:schemeClr val="tx2"/>
                </a:buClr>
              </a:pPr>
              <a:r>
                <a:rPr lang="fr-FR" sz="1120" i="1" dirty="0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  </a:t>
              </a:r>
            </a:p>
            <a:p>
              <a:pPr marL="240035" lvl="3" indent="-240035" algn="l" hangingPunct="0">
                <a:buClr>
                  <a:schemeClr val="tx2"/>
                </a:buClr>
              </a:pPr>
              <a:endParaRPr lang="fr-FR" sz="1120" i="1" dirty="0">
                <a:solidFill>
                  <a:schemeClr val="bg1"/>
                </a:solidFill>
                <a:latin typeface="Gotham Rounded BoLD"/>
                <a:cs typeface="Arial" pitchFamily="34" charset="0"/>
              </a:endParaRPr>
            </a:p>
            <a:p>
              <a:pPr marL="180026" lvl="3" indent="-180026" algn="l" hangingPunct="0">
                <a:buClr>
                  <a:schemeClr val="bg1">
                    <a:lumMod val="85000"/>
                  </a:schemeClr>
                </a:buClr>
                <a:buFont typeface="Wingdings" panose="05000000000000000000" pitchFamily="2" charset="2"/>
                <a:buChar char="ü"/>
              </a:pPr>
              <a:endParaRPr lang="fr-FR" sz="933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862E5908-83ED-4897-872E-43CDD1A19A26}"/>
                </a:ext>
              </a:extLst>
            </p:cNvPr>
            <p:cNvSpPr/>
            <p:nvPr/>
          </p:nvSpPr>
          <p:spPr>
            <a:xfrm>
              <a:off x="4598031" y="7932394"/>
              <a:ext cx="1713712" cy="6823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97849" lvl="3">
                <a:buClr>
                  <a:schemeClr val="tx1">
                    <a:lumMod val="95000"/>
                    <a:lumOff val="5000"/>
                  </a:schemeClr>
                </a:buClr>
              </a:pPr>
              <a:r>
                <a:rPr lang="fr-FR" sz="1867" i="1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SEE THE WHOLE</a:t>
              </a:r>
            </a:p>
          </p:txBody>
        </p:sp>
        <p:pic>
          <p:nvPicPr>
            <p:cNvPr id="118" name="Image 117">
              <a:extLst>
                <a:ext uri="{FF2B5EF4-FFF2-40B4-BE49-F238E27FC236}">
                  <a16:creationId xmlns:a16="http://schemas.microsoft.com/office/drawing/2014/main" id="{3B985C78-5D92-4233-81D5-C628C1F93A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17904" b="13019"/>
            <a:stretch/>
          </p:blipFill>
          <p:spPr>
            <a:xfrm>
              <a:off x="3300628" y="7678201"/>
              <a:ext cx="2724648" cy="1058701"/>
            </a:xfrm>
            <a:prstGeom prst="rect">
              <a:avLst/>
            </a:prstGeom>
          </p:spPr>
        </p:pic>
        <p:pic>
          <p:nvPicPr>
            <p:cNvPr id="123" name="Image 122" descr="post-it.png">
              <a:extLst>
                <a:ext uri="{FF2B5EF4-FFF2-40B4-BE49-F238E27FC236}">
                  <a16:creationId xmlns:a16="http://schemas.microsoft.com/office/drawing/2014/main" id="{61D5CA1D-738A-4A7D-9EE6-2A3401B57D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3521306" y="8532580"/>
              <a:ext cx="186046" cy="203765"/>
            </a:xfrm>
            <a:prstGeom prst="rect">
              <a:avLst/>
            </a:prstGeom>
          </p:spPr>
        </p:pic>
        <p:pic>
          <p:nvPicPr>
            <p:cNvPr id="124" name="Image 123" descr="post-it.png">
              <a:extLst>
                <a:ext uri="{FF2B5EF4-FFF2-40B4-BE49-F238E27FC236}">
                  <a16:creationId xmlns:a16="http://schemas.microsoft.com/office/drawing/2014/main" id="{DCF2FB5A-A1BD-4B0D-A9CE-123EA2DCA7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4244998" y="8519428"/>
              <a:ext cx="186046" cy="203765"/>
            </a:xfrm>
            <a:prstGeom prst="rect">
              <a:avLst/>
            </a:prstGeom>
          </p:spPr>
        </p:pic>
        <p:pic>
          <p:nvPicPr>
            <p:cNvPr id="125" name="Image 124" descr="post-it.png">
              <a:extLst>
                <a:ext uri="{FF2B5EF4-FFF2-40B4-BE49-F238E27FC236}">
                  <a16:creationId xmlns:a16="http://schemas.microsoft.com/office/drawing/2014/main" id="{DC373981-5874-442B-B2B3-B143ED4C64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4919811" y="8525709"/>
              <a:ext cx="186046" cy="203765"/>
            </a:xfrm>
            <a:prstGeom prst="rect">
              <a:avLst/>
            </a:prstGeom>
          </p:spPr>
        </p:pic>
        <p:pic>
          <p:nvPicPr>
            <p:cNvPr id="128" name="Image 127" descr="post-it.png">
              <a:extLst>
                <a:ext uri="{FF2B5EF4-FFF2-40B4-BE49-F238E27FC236}">
                  <a16:creationId xmlns:a16="http://schemas.microsoft.com/office/drawing/2014/main" id="{D6F16951-72C5-40AF-91E4-813743C77D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594624" y="8529878"/>
              <a:ext cx="186046" cy="203765"/>
            </a:xfrm>
            <a:prstGeom prst="rect">
              <a:avLst/>
            </a:prstGeom>
          </p:spPr>
        </p:pic>
        <p:sp>
          <p:nvSpPr>
            <p:cNvPr id="129" name="Espace réservé du contenu 7">
              <a:extLst>
                <a:ext uri="{FF2B5EF4-FFF2-40B4-BE49-F238E27FC236}">
                  <a16:creationId xmlns:a16="http://schemas.microsoft.com/office/drawing/2014/main" id="{E21B1C3C-0BA9-4C18-9B51-4EF023E78410}"/>
                </a:ext>
              </a:extLst>
            </p:cNvPr>
            <p:cNvSpPr txBox="1">
              <a:spLocks/>
            </p:cNvSpPr>
            <p:nvPr/>
          </p:nvSpPr>
          <p:spPr>
            <a:xfrm>
              <a:off x="6169295" y="7628779"/>
              <a:ext cx="1271333" cy="1085883"/>
            </a:xfrm>
            <a:prstGeom prst="rect">
              <a:avLst/>
            </a:prstGeom>
            <a:noFill/>
          </p:spPr>
          <p:txBody>
            <a:bodyPr/>
            <a:lstStyle>
              <a:lvl1pPr marL="0" indent="0" algn="l" defTabSz="914400" rtl="0" eaLnBrk="1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0"/>
                </a:spcAft>
                <a:buFont typeface="Arial" pitchFamily="34" charset="0"/>
                <a:buNone/>
                <a:defRPr sz="2400" b="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None/>
                <a:defRPr sz="1600" b="1" kern="1200" cap="all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2pPr>
              <a:lvl3pPr marL="0" indent="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None/>
                <a:defRPr sz="130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3pPr>
              <a:lvl4pPr marL="0" indent="-18000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Char char="l"/>
                <a:defRPr sz="120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4pPr>
              <a:lvl5pPr marL="180000" indent="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Font typeface="Wingdings" pitchFamily="2" charset="2"/>
                <a:buNone/>
                <a:defRPr sz="120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5pPr>
              <a:lvl6pPr marL="540000" indent="-180000" algn="just" defTabSz="89535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rgbClr val="5E514D"/>
                </a:buClr>
                <a:buSzPct val="150000"/>
                <a:buFont typeface="Lucida Grande"/>
                <a:buChar char="•"/>
                <a:defRPr sz="1200" b="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6pPr>
              <a:lvl7pPr marL="540000" indent="0" algn="just" defTabSz="89535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FontTx/>
                <a:buNone/>
                <a:defRPr sz="1200" b="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7pPr>
              <a:lvl8pPr marL="900000" indent="-180975" algn="just" defTabSz="89535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SzPct val="80000"/>
                <a:buFont typeface="Wingdings" pitchFamily="2" charset="2"/>
                <a:buChar char="l"/>
                <a:defRPr sz="1200" b="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ct val="20000"/>
                </a:spcBef>
                <a:buFontTx/>
                <a:buNone/>
                <a:defRPr sz="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3" indent="0" algn="l" hangingPunct="0">
                <a:buClr>
                  <a:schemeClr val="tx1">
                    <a:lumMod val="95000"/>
                    <a:lumOff val="5000"/>
                  </a:schemeClr>
                </a:buClr>
                <a:buNone/>
              </a:pPr>
              <a:r>
                <a:rPr lang="fr-FR" sz="1120" dirty="0" err="1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Evaluate</a:t>
              </a:r>
              <a:r>
                <a:rPr lang="fr-FR" sz="1120" dirty="0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 </a:t>
              </a:r>
              <a:r>
                <a:rPr lang="fr-FR" sz="1120" dirty="0" err="1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collectively</a:t>
              </a:r>
              <a:r>
                <a:rPr lang="fr-FR" sz="1120" dirty="0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 the architecture </a:t>
              </a:r>
              <a:r>
                <a:rPr lang="fr-FR" sz="1120" dirty="0" err="1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stakes</a:t>
              </a:r>
              <a:endParaRPr lang="fr-FR" sz="933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0" name="Rectangle 2">
            <a:extLst>
              <a:ext uri="{FF2B5EF4-FFF2-40B4-BE49-F238E27FC236}">
                <a16:creationId xmlns:a16="http://schemas.microsoft.com/office/drawing/2014/main" id="{D08BB034-5EAE-46C4-9C8E-3515CCFF0897}"/>
              </a:ext>
            </a:extLst>
          </p:cNvPr>
          <p:cNvSpPr/>
          <p:nvPr/>
        </p:nvSpPr>
        <p:spPr>
          <a:xfrm rot="10800000">
            <a:off x="8956437" y="2458300"/>
            <a:ext cx="3150592" cy="2401194"/>
          </a:xfrm>
          <a:prstGeom prst="roundRect">
            <a:avLst/>
          </a:prstGeom>
          <a:solidFill>
            <a:schemeClr val="bg1">
              <a:lumMod val="50000"/>
              <a:alpha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60" dirty="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B9214488-CD07-4B5F-95DE-601281C9CA0E}"/>
              </a:ext>
            </a:extLst>
          </p:cNvPr>
          <p:cNvSpPr/>
          <p:nvPr/>
        </p:nvSpPr>
        <p:spPr>
          <a:xfrm>
            <a:off x="8966207" y="2503020"/>
            <a:ext cx="3181890" cy="9417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6006" lvl="4" defTabSz="1706910">
              <a:lnSpc>
                <a:spcPct val="120000"/>
              </a:lnSpc>
              <a:buClr>
                <a:schemeClr val="bg1"/>
              </a:buClr>
            </a:pPr>
            <a:r>
              <a:rPr lang="fr-FR" sz="1200" dirty="0">
                <a:solidFill>
                  <a:schemeClr val="bg1"/>
                </a:solidFill>
                <a:latin typeface="Gotham Rounded BoLD"/>
                <a:cs typeface="Arial" pitchFamily="34" charset="0"/>
              </a:rPr>
              <a:t>Select the NFR </a:t>
            </a:r>
            <a:r>
              <a:rPr lang="fr-FR" sz="1200" dirty="0" err="1">
                <a:solidFill>
                  <a:schemeClr val="bg1"/>
                </a:solidFill>
                <a:latin typeface="Gotham Rounded BoLD"/>
                <a:cs typeface="Arial" pitchFamily="34" charset="0"/>
              </a:rPr>
              <a:t>that</a:t>
            </a:r>
            <a:r>
              <a:rPr lang="fr-FR" sz="1200" dirty="0">
                <a:solidFill>
                  <a:schemeClr val="bg1"/>
                </a:solidFill>
                <a:latin typeface="Gotham Rounded BoLD"/>
                <a:cs typeface="Arial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Gotham Rounded BoLD"/>
                <a:cs typeface="Arial" pitchFamily="34" charset="0"/>
              </a:rPr>
              <a:t>will</a:t>
            </a:r>
            <a:r>
              <a:rPr lang="fr-FR" sz="1200" dirty="0">
                <a:solidFill>
                  <a:schemeClr val="bg1"/>
                </a:solidFill>
                <a:latin typeface="Gotham Rounded BoLD"/>
                <a:cs typeface="Arial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Gotham Rounded BoLD"/>
                <a:cs typeface="Arial" pitchFamily="34" charset="0"/>
              </a:rPr>
              <a:t>matter</a:t>
            </a:r>
            <a:r>
              <a:rPr lang="fr-FR" sz="1200" dirty="0">
                <a:solidFill>
                  <a:schemeClr val="bg1"/>
                </a:solidFill>
                <a:latin typeface="Gotham Rounded BoLD"/>
                <a:cs typeface="Arial" pitchFamily="34" charset="0"/>
              </a:rPr>
              <a:t> for the </a:t>
            </a:r>
            <a:r>
              <a:rPr lang="fr-FR" sz="1200" dirty="0" err="1">
                <a:solidFill>
                  <a:schemeClr val="bg1"/>
                </a:solidFill>
                <a:latin typeface="Gotham Rounded BoLD"/>
                <a:cs typeface="Arial" pitchFamily="34" charset="0"/>
              </a:rPr>
              <a:t>product</a:t>
            </a:r>
            <a:endParaRPr lang="fr-FR" sz="1200" dirty="0">
              <a:solidFill>
                <a:schemeClr val="bg1"/>
              </a:solidFill>
              <a:latin typeface="Gotham Rounded BoLD"/>
              <a:cs typeface="Arial" pitchFamily="34" charset="0"/>
            </a:endParaRPr>
          </a:p>
          <a:p>
            <a:pPr marL="656052" lvl="4" indent="-320046" defTabSz="1706910">
              <a:lnSpc>
                <a:spcPct val="120000"/>
              </a:lnSpc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fr-FR" sz="1200" dirty="0">
              <a:solidFill>
                <a:schemeClr val="bg1"/>
              </a:solidFill>
              <a:latin typeface="Gotham Rounded BoLD"/>
              <a:cs typeface="Arial" pitchFamily="34" charset="0"/>
            </a:endParaRPr>
          </a:p>
          <a:p>
            <a:pPr marL="0" lvl="3">
              <a:buClr>
                <a:schemeClr val="tx2"/>
              </a:buClr>
            </a:pPr>
            <a:endParaRPr lang="fr-FR" sz="1200" i="1" dirty="0">
              <a:solidFill>
                <a:schemeClr val="bg1"/>
              </a:solidFill>
              <a:latin typeface="Gloucester MT Extra Condensed" panose="02030808020601010101" pitchFamily="18" charset="0"/>
              <a:cs typeface="Arial" pitchFamily="34" charset="0"/>
            </a:endParaRPr>
          </a:p>
        </p:txBody>
      </p:sp>
      <p:pic>
        <p:nvPicPr>
          <p:cNvPr id="137" name="Image 136">
            <a:extLst>
              <a:ext uri="{FF2B5EF4-FFF2-40B4-BE49-F238E27FC236}">
                <a16:creationId xmlns:a16="http://schemas.microsoft.com/office/drawing/2014/main" id="{3C0811FE-B931-4C9A-8594-3C109F287F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641489" y="2749350"/>
            <a:ext cx="1786905" cy="1782207"/>
          </a:xfrm>
          <a:prstGeom prst="rect">
            <a:avLst/>
          </a:prstGeom>
        </p:spPr>
      </p:pic>
      <p:sp>
        <p:nvSpPr>
          <p:cNvPr id="145" name="Rectangle 144">
            <a:extLst>
              <a:ext uri="{FF2B5EF4-FFF2-40B4-BE49-F238E27FC236}">
                <a16:creationId xmlns:a16="http://schemas.microsoft.com/office/drawing/2014/main" id="{8E9FE1D9-21EB-4F08-B710-652BA0646D02}"/>
              </a:ext>
            </a:extLst>
          </p:cNvPr>
          <p:cNvSpPr/>
          <p:nvPr/>
        </p:nvSpPr>
        <p:spPr>
          <a:xfrm>
            <a:off x="8688255" y="5020234"/>
            <a:ext cx="3796160" cy="907941"/>
          </a:xfrm>
          <a:prstGeom prst="rect">
            <a:avLst/>
          </a:prstGeom>
          <a:solidFill>
            <a:srgbClr val="00B050">
              <a:alpha val="59000"/>
            </a:srgbClr>
          </a:solidFill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fr-FR" sz="11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chitect </a:t>
            </a:r>
            <a:r>
              <a:rPr lang="fr-FR" sz="11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</a:t>
            </a:r>
            <a:r>
              <a:rPr lang="fr-FR" sz="11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marL="180975" lvl="3" indent="-180975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e</a:t>
            </a: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proposition </a:t>
            </a: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ly</a:t>
            </a: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important matrix</a:t>
            </a:r>
          </a:p>
          <a:p>
            <a:pPr marL="180975" lvl="3" indent="-180975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</a:t>
            </a: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nking</a:t>
            </a: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  no anticipation of </a:t>
            </a: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ment</a:t>
            </a: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 </a:t>
            </a: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ing</a:t>
            </a: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sues</a:t>
            </a:r>
          </a:p>
          <a:p>
            <a:pPr marL="180975" lvl="3" indent="-180975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n </a:t>
            </a: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</a:t>
            </a: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</a:t>
            </a: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</a:t>
            </a: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able</a:t>
            </a: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46" name="Shape 2282">
            <a:extLst>
              <a:ext uri="{FF2B5EF4-FFF2-40B4-BE49-F238E27FC236}">
                <a16:creationId xmlns:a16="http://schemas.microsoft.com/office/drawing/2014/main" id="{8F8892F2-8F2B-4D87-A01A-0AE563A056A4}"/>
              </a:ext>
            </a:extLst>
          </p:cNvPr>
          <p:cNvSpPr/>
          <p:nvPr/>
        </p:nvSpPr>
        <p:spPr>
          <a:xfrm>
            <a:off x="8233920" y="5229543"/>
            <a:ext cx="437564" cy="4435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7" h="21600" extrusionOk="0">
                <a:moveTo>
                  <a:pt x="10797" y="0"/>
                </a:moveTo>
                <a:cubicBezTo>
                  <a:pt x="9696" y="0"/>
                  <a:pt x="8790" y="903"/>
                  <a:pt x="8776" y="2011"/>
                </a:cubicBezTo>
                <a:cubicBezTo>
                  <a:pt x="8761" y="3371"/>
                  <a:pt x="8338" y="5720"/>
                  <a:pt x="6072" y="6911"/>
                </a:cubicBezTo>
                <a:cubicBezTo>
                  <a:pt x="5906" y="6999"/>
                  <a:pt x="5431" y="7231"/>
                  <a:pt x="5362" y="7262"/>
                </a:cubicBezTo>
                <a:cubicBezTo>
                  <a:pt x="5010" y="6970"/>
                  <a:pt x="4540" y="6754"/>
                  <a:pt x="4051" y="6754"/>
                </a:cubicBezTo>
                <a:lnTo>
                  <a:pt x="2021" y="6754"/>
                </a:lnTo>
                <a:cubicBezTo>
                  <a:pt x="905" y="6754"/>
                  <a:pt x="0" y="7658"/>
                  <a:pt x="0" y="8775"/>
                </a:cubicBezTo>
                <a:lnTo>
                  <a:pt x="0" y="19579"/>
                </a:lnTo>
                <a:cubicBezTo>
                  <a:pt x="0" y="20696"/>
                  <a:pt x="905" y="21600"/>
                  <a:pt x="2021" y="21600"/>
                </a:cubicBezTo>
                <a:lnTo>
                  <a:pt x="4051" y="21600"/>
                </a:lnTo>
                <a:cubicBezTo>
                  <a:pt x="4855" y="21600"/>
                  <a:pt x="5525" y="21118"/>
                  <a:pt x="5851" y="20437"/>
                </a:cubicBezTo>
                <a:cubicBezTo>
                  <a:pt x="5859" y="20440"/>
                  <a:pt x="5870" y="20445"/>
                  <a:pt x="5878" y="20447"/>
                </a:cubicBezTo>
                <a:cubicBezTo>
                  <a:pt x="5924" y="20459"/>
                  <a:pt x="5980" y="20475"/>
                  <a:pt x="6045" y="20493"/>
                </a:cubicBezTo>
                <a:cubicBezTo>
                  <a:pt x="6056" y="20495"/>
                  <a:pt x="6060" y="20489"/>
                  <a:pt x="6072" y="20493"/>
                </a:cubicBezTo>
                <a:cubicBezTo>
                  <a:pt x="6462" y="20589"/>
                  <a:pt x="7213" y="20771"/>
                  <a:pt x="8813" y="21139"/>
                </a:cubicBezTo>
                <a:cubicBezTo>
                  <a:pt x="9157" y="21216"/>
                  <a:pt x="10968" y="21600"/>
                  <a:pt x="12846" y="21600"/>
                </a:cubicBezTo>
                <a:lnTo>
                  <a:pt x="16537" y="21600"/>
                </a:lnTo>
                <a:cubicBezTo>
                  <a:pt x="17663" y="21600"/>
                  <a:pt x="18472" y="21168"/>
                  <a:pt x="18955" y="20299"/>
                </a:cubicBezTo>
                <a:cubicBezTo>
                  <a:pt x="18962" y="20286"/>
                  <a:pt x="19115" y="19989"/>
                  <a:pt x="19241" y="19579"/>
                </a:cubicBezTo>
                <a:cubicBezTo>
                  <a:pt x="19336" y="19271"/>
                  <a:pt x="19374" y="18832"/>
                  <a:pt x="19260" y="18389"/>
                </a:cubicBezTo>
                <a:cubicBezTo>
                  <a:pt x="19984" y="17891"/>
                  <a:pt x="20215" y="17135"/>
                  <a:pt x="20367" y="16645"/>
                </a:cubicBezTo>
                <a:cubicBezTo>
                  <a:pt x="20621" y="15840"/>
                  <a:pt x="20544" y="15242"/>
                  <a:pt x="20367" y="14809"/>
                </a:cubicBezTo>
                <a:cubicBezTo>
                  <a:pt x="20775" y="14424"/>
                  <a:pt x="21124" y="13832"/>
                  <a:pt x="21271" y="12936"/>
                </a:cubicBezTo>
                <a:cubicBezTo>
                  <a:pt x="21363" y="12381"/>
                  <a:pt x="21260" y="11815"/>
                  <a:pt x="21004" y="11340"/>
                </a:cubicBezTo>
                <a:cubicBezTo>
                  <a:pt x="21386" y="10911"/>
                  <a:pt x="21566" y="10363"/>
                  <a:pt x="21585" y="9863"/>
                </a:cubicBezTo>
                <a:lnTo>
                  <a:pt x="21594" y="9725"/>
                </a:lnTo>
                <a:cubicBezTo>
                  <a:pt x="21600" y="9636"/>
                  <a:pt x="21594" y="9578"/>
                  <a:pt x="21594" y="9384"/>
                </a:cubicBezTo>
                <a:cubicBezTo>
                  <a:pt x="21594" y="8530"/>
                  <a:pt x="21008" y="7446"/>
                  <a:pt x="19684" y="7068"/>
                </a:cubicBezTo>
                <a:cubicBezTo>
                  <a:pt x="18840" y="6846"/>
                  <a:pt x="16856" y="6849"/>
                  <a:pt x="13953" y="6772"/>
                </a:cubicBezTo>
                <a:cubicBezTo>
                  <a:pt x="14091" y="6139"/>
                  <a:pt x="14119" y="5572"/>
                  <a:pt x="14119" y="4558"/>
                </a:cubicBezTo>
                <a:cubicBezTo>
                  <a:pt x="14119" y="2136"/>
                  <a:pt x="12359" y="0"/>
                  <a:pt x="10797" y="0"/>
                </a:cubicBezTo>
                <a:close/>
                <a:moveTo>
                  <a:pt x="10797" y="1347"/>
                </a:moveTo>
                <a:cubicBezTo>
                  <a:pt x="11511" y="1347"/>
                  <a:pt x="12772" y="2785"/>
                  <a:pt x="12772" y="4558"/>
                </a:cubicBezTo>
                <a:cubicBezTo>
                  <a:pt x="12772" y="6159"/>
                  <a:pt x="12706" y="6433"/>
                  <a:pt x="12145" y="8101"/>
                </a:cubicBezTo>
                <a:cubicBezTo>
                  <a:pt x="18895" y="8101"/>
                  <a:pt x="18848" y="8194"/>
                  <a:pt x="19444" y="8350"/>
                </a:cubicBezTo>
                <a:cubicBezTo>
                  <a:pt x="20183" y="8561"/>
                  <a:pt x="20247" y="9173"/>
                  <a:pt x="20247" y="9384"/>
                </a:cubicBezTo>
                <a:cubicBezTo>
                  <a:pt x="20247" y="9615"/>
                  <a:pt x="20246" y="9581"/>
                  <a:pt x="20238" y="9808"/>
                </a:cubicBezTo>
                <a:cubicBezTo>
                  <a:pt x="20224" y="10142"/>
                  <a:pt x="20081" y="10805"/>
                  <a:pt x="18900" y="10805"/>
                </a:cubicBezTo>
                <a:lnTo>
                  <a:pt x="17552" y="10805"/>
                </a:lnTo>
                <a:cubicBezTo>
                  <a:pt x="17366" y="10805"/>
                  <a:pt x="17211" y="10950"/>
                  <a:pt x="17211" y="11137"/>
                </a:cubicBezTo>
                <a:cubicBezTo>
                  <a:pt x="17211" y="11323"/>
                  <a:pt x="17366" y="11478"/>
                  <a:pt x="17552" y="11478"/>
                </a:cubicBezTo>
                <a:lnTo>
                  <a:pt x="18854" y="11478"/>
                </a:lnTo>
                <a:cubicBezTo>
                  <a:pt x="19866" y="11478"/>
                  <a:pt x="19999" y="12319"/>
                  <a:pt x="19933" y="12724"/>
                </a:cubicBezTo>
                <a:cubicBezTo>
                  <a:pt x="19851" y="13228"/>
                  <a:pt x="19615" y="14182"/>
                  <a:pt x="18475" y="14182"/>
                </a:cubicBezTo>
                <a:lnTo>
                  <a:pt x="16869" y="14182"/>
                </a:lnTo>
                <a:cubicBezTo>
                  <a:pt x="16683" y="14182"/>
                  <a:pt x="16537" y="14327"/>
                  <a:pt x="16537" y="14514"/>
                </a:cubicBezTo>
                <a:cubicBezTo>
                  <a:pt x="16537" y="14700"/>
                  <a:pt x="16683" y="14855"/>
                  <a:pt x="16869" y="14855"/>
                </a:cubicBezTo>
                <a:lnTo>
                  <a:pt x="18198" y="14855"/>
                </a:lnTo>
                <a:cubicBezTo>
                  <a:pt x="19338" y="14855"/>
                  <a:pt x="19239" y="15720"/>
                  <a:pt x="19075" y="16239"/>
                </a:cubicBezTo>
                <a:cubicBezTo>
                  <a:pt x="18860" y="16920"/>
                  <a:pt x="18729" y="17549"/>
                  <a:pt x="17294" y="17549"/>
                </a:cubicBezTo>
                <a:lnTo>
                  <a:pt x="16196" y="17549"/>
                </a:lnTo>
                <a:cubicBezTo>
                  <a:pt x="16009" y="17549"/>
                  <a:pt x="15854" y="17704"/>
                  <a:pt x="15854" y="17891"/>
                </a:cubicBezTo>
                <a:cubicBezTo>
                  <a:pt x="15854" y="18077"/>
                  <a:pt x="16009" y="18232"/>
                  <a:pt x="16196" y="18232"/>
                </a:cubicBezTo>
                <a:lnTo>
                  <a:pt x="17257" y="18232"/>
                </a:lnTo>
                <a:cubicBezTo>
                  <a:pt x="17995" y="18232"/>
                  <a:pt x="18026" y="18932"/>
                  <a:pt x="17949" y="19183"/>
                </a:cubicBezTo>
                <a:cubicBezTo>
                  <a:pt x="17865" y="19457"/>
                  <a:pt x="17769" y="19653"/>
                  <a:pt x="17765" y="19662"/>
                </a:cubicBezTo>
                <a:cubicBezTo>
                  <a:pt x="17560" y="20030"/>
                  <a:pt x="17233" y="20253"/>
                  <a:pt x="16537" y="20253"/>
                </a:cubicBezTo>
                <a:lnTo>
                  <a:pt x="12846" y="20253"/>
                </a:lnTo>
                <a:cubicBezTo>
                  <a:pt x="10992" y="20253"/>
                  <a:pt x="9147" y="19830"/>
                  <a:pt x="9099" y="19819"/>
                </a:cubicBezTo>
                <a:cubicBezTo>
                  <a:pt x="6295" y="19173"/>
                  <a:pt x="6147" y="19131"/>
                  <a:pt x="5971" y="19081"/>
                </a:cubicBezTo>
                <a:cubicBezTo>
                  <a:pt x="5971" y="19081"/>
                  <a:pt x="5408" y="18980"/>
                  <a:pt x="5408" y="18481"/>
                </a:cubicBezTo>
                <a:lnTo>
                  <a:pt x="5399" y="9153"/>
                </a:lnTo>
                <a:cubicBezTo>
                  <a:pt x="5399" y="8837"/>
                  <a:pt x="5600" y="8553"/>
                  <a:pt x="5934" y="8452"/>
                </a:cubicBezTo>
                <a:cubicBezTo>
                  <a:pt x="5976" y="8435"/>
                  <a:pt x="6032" y="8423"/>
                  <a:pt x="6072" y="8406"/>
                </a:cubicBezTo>
                <a:cubicBezTo>
                  <a:pt x="9156" y="7129"/>
                  <a:pt x="10096" y="4321"/>
                  <a:pt x="10124" y="2021"/>
                </a:cubicBezTo>
                <a:cubicBezTo>
                  <a:pt x="10127" y="1698"/>
                  <a:pt x="10375" y="1347"/>
                  <a:pt x="10797" y="1347"/>
                </a:cubicBezTo>
                <a:close/>
                <a:moveTo>
                  <a:pt x="2021" y="8101"/>
                </a:moveTo>
                <a:lnTo>
                  <a:pt x="4051" y="8101"/>
                </a:lnTo>
                <a:cubicBezTo>
                  <a:pt x="4425" y="8101"/>
                  <a:pt x="4725" y="8402"/>
                  <a:pt x="4725" y="8775"/>
                </a:cubicBezTo>
                <a:cubicBezTo>
                  <a:pt x="4725" y="8775"/>
                  <a:pt x="4725" y="19579"/>
                  <a:pt x="4725" y="19579"/>
                </a:cubicBezTo>
                <a:cubicBezTo>
                  <a:pt x="4725" y="19953"/>
                  <a:pt x="4425" y="20253"/>
                  <a:pt x="4051" y="20253"/>
                </a:cubicBezTo>
                <a:lnTo>
                  <a:pt x="2021" y="20253"/>
                </a:lnTo>
                <a:cubicBezTo>
                  <a:pt x="1648" y="20253"/>
                  <a:pt x="1347" y="19953"/>
                  <a:pt x="1347" y="19579"/>
                </a:cubicBezTo>
                <a:lnTo>
                  <a:pt x="1347" y="8775"/>
                </a:lnTo>
                <a:cubicBezTo>
                  <a:pt x="1347" y="8402"/>
                  <a:pt x="1648" y="8101"/>
                  <a:pt x="2021" y="8101"/>
                </a:cubicBezTo>
                <a:close/>
                <a:moveTo>
                  <a:pt x="3036" y="17549"/>
                </a:moveTo>
                <a:cubicBezTo>
                  <a:pt x="2477" y="17549"/>
                  <a:pt x="2021" y="18005"/>
                  <a:pt x="2021" y="18564"/>
                </a:cubicBezTo>
                <a:cubicBezTo>
                  <a:pt x="2021" y="19124"/>
                  <a:pt x="2477" y="19579"/>
                  <a:pt x="3036" y="19579"/>
                </a:cubicBezTo>
                <a:cubicBezTo>
                  <a:pt x="3595" y="19579"/>
                  <a:pt x="4051" y="19124"/>
                  <a:pt x="4051" y="18564"/>
                </a:cubicBezTo>
                <a:cubicBezTo>
                  <a:pt x="4051" y="18005"/>
                  <a:pt x="3595" y="17549"/>
                  <a:pt x="3036" y="17549"/>
                </a:cubicBezTo>
                <a:close/>
                <a:moveTo>
                  <a:pt x="3036" y="18232"/>
                </a:moveTo>
                <a:cubicBezTo>
                  <a:pt x="3222" y="18232"/>
                  <a:pt x="3368" y="18378"/>
                  <a:pt x="3368" y="18564"/>
                </a:cubicBezTo>
                <a:cubicBezTo>
                  <a:pt x="3368" y="18750"/>
                  <a:pt x="3222" y="18906"/>
                  <a:pt x="3036" y="18906"/>
                </a:cubicBezTo>
                <a:cubicBezTo>
                  <a:pt x="2851" y="18906"/>
                  <a:pt x="2695" y="18750"/>
                  <a:pt x="2695" y="18564"/>
                </a:cubicBezTo>
                <a:cubicBezTo>
                  <a:pt x="2695" y="18378"/>
                  <a:pt x="2851" y="18232"/>
                  <a:pt x="3036" y="18232"/>
                </a:cubicBezTo>
                <a:close/>
              </a:path>
            </a:pathLst>
          </a:custGeom>
          <a:solidFill>
            <a:srgbClr val="00B050"/>
          </a:solidFill>
          <a:ln w="12700" cap="flat">
            <a:noFill/>
            <a:miter lim="400000"/>
          </a:ln>
          <a:effectLst/>
        </p:spPr>
        <p:txBody>
          <a:bodyPr wrap="square" lIns="71120" tIns="71120" rIns="71120" bIns="71120" numCol="1" anchor="ctr">
            <a:noAutofit/>
          </a:bodyPr>
          <a:lstStyle/>
          <a:p>
            <a:pPr lvl="0">
              <a:defRPr sz="3200"/>
            </a:pPr>
            <a:endParaRPr sz="3733" dirty="0">
              <a:solidFill>
                <a:schemeClr val="bg1"/>
              </a:solidFill>
            </a:endParaRP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19E41F-F929-4C90-83DE-631AE9A5BD0B}"/>
              </a:ext>
            </a:extLst>
          </p:cNvPr>
          <p:cNvGrpSpPr/>
          <p:nvPr/>
        </p:nvGrpSpPr>
        <p:grpSpPr>
          <a:xfrm>
            <a:off x="7344282" y="7134000"/>
            <a:ext cx="3839584" cy="1960980"/>
            <a:chOff x="1278193" y="7716233"/>
            <a:chExt cx="3862509" cy="2107473"/>
          </a:xfrm>
        </p:grpSpPr>
        <p:sp>
          <p:nvSpPr>
            <p:cNvPr id="151" name="Rectangle 2">
              <a:extLst>
                <a:ext uri="{FF2B5EF4-FFF2-40B4-BE49-F238E27FC236}">
                  <a16:creationId xmlns:a16="http://schemas.microsoft.com/office/drawing/2014/main" id="{48531D43-D10A-4C68-8DC2-6146B8895260}"/>
                </a:ext>
              </a:extLst>
            </p:cNvPr>
            <p:cNvSpPr/>
            <p:nvPr/>
          </p:nvSpPr>
          <p:spPr>
            <a:xfrm rot="10800000">
              <a:off x="1278193" y="7716233"/>
              <a:ext cx="3862509" cy="1725208"/>
            </a:xfrm>
            <a:prstGeom prst="roundRect">
              <a:avLst/>
            </a:prstGeom>
            <a:solidFill>
              <a:sysClr val="window" lastClr="FFFFFF">
                <a:lumMod val="50000"/>
                <a:alpha val="80000"/>
              </a:sysClr>
            </a:solidFill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892176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747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2" name="Espace réservé du contenu 7">
              <a:extLst>
                <a:ext uri="{FF2B5EF4-FFF2-40B4-BE49-F238E27FC236}">
                  <a16:creationId xmlns:a16="http://schemas.microsoft.com/office/drawing/2014/main" id="{1E5F7CF0-6A2D-4E60-A1B6-416CF86D5F3E}"/>
                </a:ext>
              </a:extLst>
            </p:cNvPr>
            <p:cNvSpPr txBox="1">
              <a:spLocks/>
            </p:cNvSpPr>
            <p:nvPr/>
          </p:nvSpPr>
          <p:spPr>
            <a:xfrm>
              <a:off x="1331271" y="7818502"/>
              <a:ext cx="2046704" cy="1457390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0"/>
                </a:spcAft>
                <a:buFont typeface="Arial" pitchFamily="34" charset="0"/>
                <a:buNone/>
                <a:defRPr sz="2400" b="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None/>
                <a:defRPr sz="1600" b="1" kern="1200" cap="all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2pPr>
              <a:lvl3pPr marL="0" indent="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None/>
                <a:defRPr sz="130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3pPr>
              <a:lvl4pPr marL="0" indent="-18000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Char char="l"/>
                <a:defRPr sz="120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4pPr>
              <a:lvl5pPr marL="180000" indent="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Font typeface="Wingdings" pitchFamily="2" charset="2"/>
                <a:buNone/>
                <a:defRPr sz="120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5pPr>
              <a:lvl6pPr marL="540000" indent="-180000" algn="just" defTabSz="89535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rgbClr val="5E514D"/>
                </a:buClr>
                <a:buSzPct val="150000"/>
                <a:buFont typeface="Lucida Grande"/>
                <a:buChar char="•"/>
                <a:defRPr sz="1200" b="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6pPr>
              <a:lvl7pPr marL="540000" indent="0" algn="just" defTabSz="89535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FontTx/>
                <a:buNone/>
                <a:defRPr sz="1200" b="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7pPr>
              <a:lvl8pPr marL="900000" indent="-180975" algn="just" defTabSz="89535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SzPct val="80000"/>
                <a:buFont typeface="Wingdings" pitchFamily="2" charset="2"/>
                <a:buChar char="l"/>
                <a:defRPr sz="1200" b="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ct val="20000"/>
                </a:spcBef>
                <a:buFontTx/>
                <a:buNone/>
                <a:defRPr sz="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3" indent="0" algn="l" fontAlgn="base" hangingPunct="0">
                <a:lnSpc>
                  <a:spcPct val="100000"/>
                </a:lnSpc>
                <a:spcAft>
                  <a:spcPct val="0"/>
                </a:spcAft>
                <a:buClr>
                  <a:prstClr val="black">
                    <a:lumMod val="95000"/>
                    <a:lumOff val="5000"/>
                  </a:prstClr>
                </a:buClr>
                <a:buNone/>
              </a:pPr>
              <a:r>
                <a:rPr lang="fr-FR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For the </a:t>
              </a:r>
              <a:r>
                <a:rPr lang="fr-FR" dirty="0" err="1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selected</a:t>
              </a:r>
              <a:r>
                <a:rPr lang="fr-FR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 </a:t>
              </a:r>
              <a:r>
                <a:rPr lang="fr-FR" dirty="0" err="1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NFRs</a:t>
              </a:r>
              <a:r>
                <a:rPr lang="fr-FR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:</a:t>
              </a:r>
            </a:p>
            <a:p>
              <a:pPr marL="180975" lvl="4" indent="-180975" algn="l" fontAlgn="base" hangingPunct="0">
                <a:lnSpc>
                  <a:spcPct val="100000"/>
                </a:lnSpc>
                <a:spcAft>
                  <a:spcPct val="0"/>
                </a:spcAft>
                <a:buClr>
                  <a:prstClr val="white"/>
                </a:buClr>
                <a:buFont typeface="Wingdings" pitchFamily="2" charset="2"/>
                <a:buChar char="§"/>
              </a:pPr>
              <a:r>
                <a:rPr lang="fr-FR" sz="1120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What</a:t>
              </a:r>
              <a:r>
                <a:rPr lang="fr-FR" sz="1120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 to mesure (unit, KPI)</a:t>
              </a:r>
            </a:p>
            <a:p>
              <a:pPr marL="180975" lvl="4" indent="-180975" algn="l" fontAlgn="base" hangingPunct="0">
                <a:lnSpc>
                  <a:spcPct val="100000"/>
                </a:lnSpc>
                <a:spcAft>
                  <a:spcPct val="0"/>
                </a:spcAft>
                <a:buClr>
                  <a:prstClr val="white"/>
                </a:buClr>
                <a:buFont typeface="Wingdings" pitchFamily="2" charset="2"/>
                <a:buChar char="§"/>
              </a:pPr>
              <a:r>
                <a:rPr lang="fr-FR" sz="1120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How to mesure (</a:t>
              </a:r>
              <a:r>
                <a:rPr lang="fr-FR" sz="1120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method</a:t>
              </a:r>
              <a:r>
                <a:rPr lang="fr-FR" sz="1120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)</a:t>
              </a:r>
            </a:p>
            <a:p>
              <a:pPr marL="180975" lvl="4" indent="-180975" algn="l" fontAlgn="base" hangingPunct="0">
                <a:lnSpc>
                  <a:spcPct val="100000"/>
                </a:lnSpc>
                <a:spcAft>
                  <a:spcPct val="0"/>
                </a:spcAft>
                <a:buClr>
                  <a:prstClr val="white"/>
                </a:buClr>
                <a:buFont typeface="Wingdings" pitchFamily="2" charset="2"/>
                <a:buChar char="§"/>
              </a:pPr>
              <a:r>
                <a:rPr lang="fr-FR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The </a:t>
              </a:r>
              <a:r>
                <a:rPr lang="fr-FR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baseline</a:t>
              </a:r>
              <a:endParaRPr lang="fr-FR" dirty="0">
                <a:solidFill>
                  <a:prstClr val="white"/>
                </a:solidFill>
                <a:latin typeface="Gotham Rounded BoLD"/>
                <a:cs typeface="Arial" pitchFamily="34" charset="0"/>
              </a:endParaRPr>
            </a:p>
            <a:p>
              <a:pPr marL="180975" lvl="4" indent="-180975" algn="l" fontAlgn="base" hangingPunct="0">
                <a:lnSpc>
                  <a:spcPct val="100000"/>
                </a:lnSpc>
                <a:spcAft>
                  <a:spcPct val="0"/>
                </a:spcAft>
                <a:buClr>
                  <a:prstClr val="white"/>
                </a:buClr>
                <a:buFont typeface="Wingdings" pitchFamily="2" charset="2"/>
                <a:buChar char="§"/>
              </a:pPr>
              <a:r>
                <a:rPr lang="fr-FR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The </a:t>
              </a:r>
              <a:r>
                <a:rPr lang="fr-FR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target</a:t>
              </a:r>
              <a:endParaRPr lang="fr-FR" dirty="0">
                <a:solidFill>
                  <a:prstClr val="white"/>
                </a:solidFill>
                <a:latin typeface="Gotham Rounded BoLD"/>
                <a:cs typeface="Arial" pitchFamily="34" charset="0"/>
              </a:endParaRPr>
            </a:p>
            <a:p>
              <a:pPr marL="180975" lvl="4" indent="-180975" algn="l" fontAlgn="base" hangingPunct="0">
                <a:lnSpc>
                  <a:spcPct val="100000"/>
                </a:lnSpc>
                <a:spcAft>
                  <a:spcPct val="0"/>
                </a:spcAft>
                <a:buClr>
                  <a:prstClr val="white"/>
                </a:buClr>
                <a:buFont typeface="Wingdings" pitchFamily="2" charset="2"/>
                <a:buChar char="§"/>
              </a:pPr>
              <a:r>
                <a:rPr lang="fr-FR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The </a:t>
              </a:r>
              <a:r>
                <a:rPr lang="fr-FR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failure</a:t>
              </a:r>
              <a:r>
                <a:rPr lang="fr-FR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 </a:t>
              </a:r>
              <a:r>
                <a:rPr lang="fr-FR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level</a:t>
              </a:r>
              <a:endParaRPr lang="fr-FR" dirty="0">
                <a:solidFill>
                  <a:prstClr val="white"/>
                </a:solidFill>
                <a:latin typeface="Gotham Rounded BoLD"/>
                <a:cs typeface="Arial" pitchFamily="34" charset="0"/>
              </a:endParaRPr>
            </a:p>
            <a:p>
              <a:pPr lvl="3" indent="0" algn="l" fontAlgn="base" hangingPunct="0">
                <a:spcAft>
                  <a:spcPct val="0"/>
                </a:spcAft>
                <a:buClr>
                  <a:srgbClr val="1F497D"/>
                </a:buClr>
                <a:buNone/>
              </a:pPr>
              <a:endParaRPr lang="fr-FR" sz="1120" i="1" dirty="0">
                <a:solidFill>
                  <a:prstClr val="white"/>
                </a:solidFill>
                <a:latin typeface="Gotham Rounded BoLD"/>
                <a:cs typeface="Arial" pitchFamily="34" charset="0"/>
              </a:endParaRP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16F1FA34-423B-4662-A348-A65B9988C267}"/>
                </a:ext>
              </a:extLst>
            </p:cNvPr>
            <p:cNvSpPr/>
            <p:nvPr/>
          </p:nvSpPr>
          <p:spPr>
            <a:xfrm>
              <a:off x="3883272" y="9415688"/>
              <a:ext cx="203146" cy="40801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3892176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867" kern="0" dirty="0">
                <a:solidFill>
                  <a:prstClr val="black"/>
                </a:solidFill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C1049C41-714F-49FA-A24C-45CA11AD0448}"/>
                </a:ext>
              </a:extLst>
            </p:cNvPr>
            <p:cNvSpPr/>
            <p:nvPr/>
          </p:nvSpPr>
          <p:spPr>
            <a:xfrm>
              <a:off x="2564324" y="9142607"/>
              <a:ext cx="2028941" cy="29769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389217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fr-FR" sz="1200" i="1" kern="0" dirty="0">
                  <a:solidFill>
                    <a:prstClr val="white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FITNESS FUNCTION CARD</a:t>
              </a:r>
              <a:endParaRPr lang="fr-FR" sz="1200" kern="0" dirty="0">
                <a:solidFill>
                  <a:prstClr val="black"/>
                </a:solidFill>
              </a:endParaRPr>
            </a:p>
          </p:txBody>
        </p:sp>
        <p:pic>
          <p:nvPicPr>
            <p:cNvPr id="157" name="Image 156">
              <a:extLst>
                <a:ext uri="{FF2B5EF4-FFF2-40B4-BE49-F238E27FC236}">
                  <a16:creationId xmlns:a16="http://schemas.microsoft.com/office/drawing/2014/main" id="{6CD78761-48A4-463E-99BE-3D151ACDD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619221" y="8073652"/>
              <a:ext cx="1428980" cy="1010369"/>
            </a:xfrm>
            <a:prstGeom prst="rect">
              <a:avLst/>
            </a:prstGeom>
          </p:spPr>
        </p:pic>
        <p:sp>
          <p:nvSpPr>
            <p:cNvPr id="161" name="Rectangle : coins arrondis 160">
              <a:extLst>
                <a:ext uri="{FF2B5EF4-FFF2-40B4-BE49-F238E27FC236}">
                  <a16:creationId xmlns:a16="http://schemas.microsoft.com/office/drawing/2014/main" id="{90C1CA2F-C928-4AFD-B60E-F3917BAA30F4}"/>
                </a:ext>
              </a:extLst>
            </p:cNvPr>
            <p:cNvSpPr/>
            <p:nvPr/>
          </p:nvSpPr>
          <p:spPr>
            <a:xfrm>
              <a:off x="3589115" y="8067357"/>
              <a:ext cx="590624" cy="966659"/>
            </a:xfrm>
            <a:prstGeom prst="roundRect">
              <a:avLst/>
            </a:prstGeom>
            <a:noFill/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892176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5973" kern="0">
                <a:solidFill>
                  <a:prstClr val="white"/>
                </a:solidFill>
                <a:latin typeface="Calibri"/>
              </a:endParaRPr>
            </a:p>
          </p:txBody>
        </p:sp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AEA5AB89-84EB-4639-A14D-A1981A929638}"/>
              </a:ext>
            </a:extLst>
          </p:cNvPr>
          <p:cNvGrpSpPr/>
          <p:nvPr/>
        </p:nvGrpSpPr>
        <p:grpSpPr>
          <a:xfrm>
            <a:off x="649228" y="3163833"/>
            <a:ext cx="3239501" cy="1542110"/>
            <a:chOff x="-981583" y="1598405"/>
            <a:chExt cx="5981136" cy="3227357"/>
          </a:xfrm>
        </p:grpSpPr>
        <p:cxnSp>
          <p:nvCxnSpPr>
            <p:cNvPr id="197" name="Connecteur droit 196">
              <a:extLst>
                <a:ext uri="{FF2B5EF4-FFF2-40B4-BE49-F238E27FC236}">
                  <a16:creationId xmlns:a16="http://schemas.microsoft.com/office/drawing/2014/main" id="{CB2DB993-A616-42DB-8C02-B759C010647A}"/>
                </a:ext>
              </a:extLst>
            </p:cNvPr>
            <p:cNvCxnSpPr>
              <a:cxnSpLocks/>
            </p:cNvCxnSpPr>
            <p:nvPr/>
          </p:nvCxnSpPr>
          <p:spPr>
            <a:xfrm>
              <a:off x="2856121" y="3529062"/>
              <a:ext cx="1575385" cy="74034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0" name="Rectangle 2">
              <a:extLst>
                <a:ext uri="{FF2B5EF4-FFF2-40B4-BE49-F238E27FC236}">
                  <a16:creationId xmlns:a16="http://schemas.microsoft.com/office/drawing/2014/main" id="{C32CDF01-5F74-42DD-BB85-DD3ADB29813E}"/>
                </a:ext>
              </a:extLst>
            </p:cNvPr>
            <p:cNvSpPr/>
            <p:nvPr/>
          </p:nvSpPr>
          <p:spPr>
            <a:xfrm rot="10800000">
              <a:off x="-866414" y="1598405"/>
              <a:ext cx="5756087" cy="3227357"/>
            </a:xfrm>
            <a:prstGeom prst="roundRect">
              <a:avLst/>
            </a:prstGeom>
            <a:solidFill>
              <a:schemeClr val="bg1">
                <a:lumMod val="5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055FAE06-513A-47CE-A90B-39C16AECEA91}"/>
                </a:ext>
              </a:extLst>
            </p:cNvPr>
            <p:cNvSpPr/>
            <p:nvPr/>
          </p:nvSpPr>
          <p:spPr>
            <a:xfrm>
              <a:off x="157598" y="4176226"/>
              <a:ext cx="4841955" cy="5797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200" i="1" kern="0" dirty="0">
                  <a:solidFill>
                    <a:prstClr val="white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CONTINUOUS TESTING BOARD</a:t>
              </a:r>
            </a:p>
          </p:txBody>
        </p:sp>
        <p:grpSp>
          <p:nvGrpSpPr>
            <p:cNvPr id="180" name="Groupe 179">
              <a:extLst>
                <a:ext uri="{FF2B5EF4-FFF2-40B4-BE49-F238E27FC236}">
                  <a16:creationId xmlns:a16="http://schemas.microsoft.com/office/drawing/2014/main" id="{7F9EDF8A-AF23-4182-BA60-93402BA61B41}"/>
                </a:ext>
              </a:extLst>
            </p:cNvPr>
            <p:cNvGrpSpPr/>
            <p:nvPr/>
          </p:nvGrpSpPr>
          <p:grpSpPr>
            <a:xfrm>
              <a:off x="1815997" y="1750989"/>
              <a:ext cx="635650" cy="531179"/>
              <a:chOff x="4430613" y="3780635"/>
              <a:chExt cx="1317794" cy="1107527"/>
            </a:xfrm>
          </p:grpSpPr>
          <p:sp>
            <p:nvSpPr>
              <p:cNvPr id="181" name="Flèche : droite 180">
                <a:extLst>
                  <a:ext uri="{FF2B5EF4-FFF2-40B4-BE49-F238E27FC236}">
                    <a16:creationId xmlns:a16="http://schemas.microsoft.com/office/drawing/2014/main" id="{F151908D-40AB-4CF9-9FFE-586B074013BF}"/>
                  </a:ext>
                </a:extLst>
              </p:cNvPr>
              <p:cNvSpPr/>
              <p:nvPr/>
            </p:nvSpPr>
            <p:spPr>
              <a:xfrm>
                <a:off x="5242487" y="4678905"/>
                <a:ext cx="505920" cy="209257"/>
              </a:xfrm>
              <a:prstGeom prst="rightArrow">
                <a:avLst/>
              </a:prstGeom>
              <a:solidFill>
                <a:srgbClr val="3498DB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891397">
                  <a:defRPr/>
                </a:pPr>
                <a:endParaRPr lang="fr-FR" sz="7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88" name="Cercle : creux 187">
                <a:extLst>
                  <a:ext uri="{FF2B5EF4-FFF2-40B4-BE49-F238E27FC236}">
                    <a16:creationId xmlns:a16="http://schemas.microsoft.com/office/drawing/2014/main" id="{63D73321-8423-4953-9004-03B224984611}"/>
                  </a:ext>
                </a:extLst>
              </p:cNvPr>
              <p:cNvSpPr/>
              <p:nvPr/>
            </p:nvSpPr>
            <p:spPr>
              <a:xfrm>
                <a:off x="4444513" y="3780635"/>
                <a:ext cx="1149616" cy="1099219"/>
              </a:xfrm>
              <a:prstGeom prst="donut">
                <a:avLst/>
              </a:prstGeom>
              <a:solidFill>
                <a:srgbClr val="858B7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891397">
                  <a:defRPr/>
                </a:pPr>
                <a:endParaRPr lang="fr-FR" sz="700" kern="0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90" name="Cercle : creux 189">
                <a:extLst>
                  <a:ext uri="{FF2B5EF4-FFF2-40B4-BE49-F238E27FC236}">
                    <a16:creationId xmlns:a16="http://schemas.microsoft.com/office/drawing/2014/main" id="{F7D33F18-D617-46E6-8489-2AF2B3B61E73}"/>
                  </a:ext>
                </a:extLst>
              </p:cNvPr>
              <p:cNvSpPr/>
              <p:nvPr/>
            </p:nvSpPr>
            <p:spPr>
              <a:xfrm>
                <a:off x="4534439" y="3818218"/>
                <a:ext cx="1015157" cy="1016963"/>
              </a:xfrm>
              <a:prstGeom prst="donut">
                <a:avLst>
                  <a:gd name="adj" fmla="val 10112"/>
                </a:avLst>
              </a:prstGeom>
              <a:solidFill>
                <a:srgbClr val="3498DB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891397">
                  <a:defRPr/>
                </a:pPr>
                <a:endParaRPr lang="fr-FR" sz="700" kern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91" name="Organigramme : Opération manuelle 190">
                <a:extLst>
                  <a:ext uri="{FF2B5EF4-FFF2-40B4-BE49-F238E27FC236}">
                    <a16:creationId xmlns:a16="http://schemas.microsoft.com/office/drawing/2014/main" id="{2EE43B0E-ADB0-46A8-A45B-580AFC9B1497}"/>
                  </a:ext>
                </a:extLst>
              </p:cNvPr>
              <p:cNvSpPr/>
              <p:nvPr/>
            </p:nvSpPr>
            <p:spPr>
              <a:xfrm rot="5400000">
                <a:off x="4765532" y="4435519"/>
                <a:ext cx="73502" cy="535687"/>
              </a:xfrm>
              <a:prstGeom prst="flowChartManualOperation">
                <a:avLst/>
              </a:prstGeom>
              <a:solidFill>
                <a:srgbClr val="858B7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891397">
                  <a:defRPr/>
                </a:pPr>
                <a:endParaRPr lang="fr-FR" sz="7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92" name="Flèche : droite à entaille 191">
                <a:extLst>
                  <a:ext uri="{FF2B5EF4-FFF2-40B4-BE49-F238E27FC236}">
                    <a16:creationId xmlns:a16="http://schemas.microsoft.com/office/drawing/2014/main" id="{93539AE7-82A4-4AB8-B450-F23A01B2FF43}"/>
                  </a:ext>
                </a:extLst>
              </p:cNvPr>
              <p:cNvSpPr/>
              <p:nvPr/>
            </p:nvSpPr>
            <p:spPr>
              <a:xfrm>
                <a:off x="4430613" y="4731118"/>
                <a:ext cx="665598" cy="104063"/>
              </a:xfrm>
              <a:prstGeom prst="notchedRightArrow">
                <a:avLst>
                  <a:gd name="adj1" fmla="val 100000"/>
                  <a:gd name="adj2" fmla="val 20092"/>
                </a:avLst>
              </a:prstGeom>
              <a:solidFill>
                <a:srgbClr val="3498DB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891397">
                  <a:defRPr/>
                </a:pPr>
                <a:endParaRPr lang="fr-FR" sz="700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grpSp>
          <p:nvGrpSpPr>
            <p:cNvPr id="200" name="Groupe 199">
              <a:extLst>
                <a:ext uri="{FF2B5EF4-FFF2-40B4-BE49-F238E27FC236}">
                  <a16:creationId xmlns:a16="http://schemas.microsoft.com/office/drawing/2014/main" id="{D1C589D2-E133-430A-B430-2D17CAE1EE1A}"/>
                </a:ext>
              </a:extLst>
            </p:cNvPr>
            <p:cNvGrpSpPr/>
            <p:nvPr/>
          </p:nvGrpSpPr>
          <p:grpSpPr>
            <a:xfrm>
              <a:off x="2940795" y="1710115"/>
              <a:ext cx="637388" cy="584397"/>
              <a:chOff x="4430613" y="3780635"/>
              <a:chExt cx="1317794" cy="1107527"/>
            </a:xfrm>
          </p:grpSpPr>
          <p:sp>
            <p:nvSpPr>
              <p:cNvPr id="201" name="Flèche : droite 200">
                <a:extLst>
                  <a:ext uri="{FF2B5EF4-FFF2-40B4-BE49-F238E27FC236}">
                    <a16:creationId xmlns:a16="http://schemas.microsoft.com/office/drawing/2014/main" id="{E8ABCFC7-2075-44B2-B828-41064C836798}"/>
                  </a:ext>
                </a:extLst>
              </p:cNvPr>
              <p:cNvSpPr/>
              <p:nvPr/>
            </p:nvSpPr>
            <p:spPr>
              <a:xfrm>
                <a:off x="5242487" y="4678905"/>
                <a:ext cx="505920" cy="209257"/>
              </a:xfrm>
              <a:prstGeom prst="rightArrow">
                <a:avLst/>
              </a:prstGeom>
              <a:solidFill>
                <a:srgbClr val="3498DB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891397">
                  <a:defRPr/>
                </a:pPr>
                <a:endParaRPr lang="fr-FR" sz="7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06" name="Cercle : creux 205">
                <a:extLst>
                  <a:ext uri="{FF2B5EF4-FFF2-40B4-BE49-F238E27FC236}">
                    <a16:creationId xmlns:a16="http://schemas.microsoft.com/office/drawing/2014/main" id="{995D7F07-E49C-48A1-A0B5-DDAFA98B0547}"/>
                  </a:ext>
                </a:extLst>
              </p:cNvPr>
              <p:cNvSpPr/>
              <p:nvPr/>
            </p:nvSpPr>
            <p:spPr>
              <a:xfrm>
                <a:off x="4444513" y="3780635"/>
                <a:ext cx="1149616" cy="1099219"/>
              </a:xfrm>
              <a:prstGeom prst="donut">
                <a:avLst/>
              </a:prstGeom>
              <a:solidFill>
                <a:srgbClr val="858B7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891397">
                  <a:defRPr/>
                </a:pPr>
                <a:endParaRPr lang="fr-FR" sz="700" kern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207" name="Cercle : creux 206">
                <a:extLst>
                  <a:ext uri="{FF2B5EF4-FFF2-40B4-BE49-F238E27FC236}">
                    <a16:creationId xmlns:a16="http://schemas.microsoft.com/office/drawing/2014/main" id="{899E18AB-EB44-4056-962A-030B21A47709}"/>
                  </a:ext>
                </a:extLst>
              </p:cNvPr>
              <p:cNvSpPr/>
              <p:nvPr/>
            </p:nvSpPr>
            <p:spPr>
              <a:xfrm>
                <a:off x="4534439" y="3818218"/>
                <a:ext cx="1015157" cy="1016963"/>
              </a:xfrm>
              <a:prstGeom prst="donut">
                <a:avLst>
                  <a:gd name="adj" fmla="val 10112"/>
                </a:avLst>
              </a:prstGeom>
              <a:solidFill>
                <a:srgbClr val="3498DB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891397">
                  <a:defRPr/>
                </a:pPr>
                <a:endParaRPr lang="fr-FR" sz="700" kern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208" name="Organigramme : Opération manuelle 207">
                <a:extLst>
                  <a:ext uri="{FF2B5EF4-FFF2-40B4-BE49-F238E27FC236}">
                    <a16:creationId xmlns:a16="http://schemas.microsoft.com/office/drawing/2014/main" id="{7FCBE3A4-B7FD-40F1-8F4A-AF430DEC11A0}"/>
                  </a:ext>
                </a:extLst>
              </p:cNvPr>
              <p:cNvSpPr/>
              <p:nvPr/>
            </p:nvSpPr>
            <p:spPr>
              <a:xfrm rot="5400000">
                <a:off x="4765532" y="4435519"/>
                <a:ext cx="73502" cy="535687"/>
              </a:xfrm>
              <a:prstGeom prst="flowChartManualOperation">
                <a:avLst/>
              </a:prstGeom>
              <a:solidFill>
                <a:srgbClr val="858B7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891397">
                  <a:defRPr/>
                </a:pPr>
                <a:endParaRPr lang="fr-FR" sz="7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09" name="Flèche : droite à entaille 208">
                <a:extLst>
                  <a:ext uri="{FF2B5EF4-FFF2-40B4-BE49-F238E27FC236}">
                    <a16:creationId xmlns:a16="http://schemas.microsoft.com/office/drawing/2014/main" id="{49BA1A38-2DC9-4B92-B3B3-089006D921D8}"/>
                  </a:ext>
                </a:extLst>
              </p:cNvPr>
              <p:cNvSpPr/>
              <p:nvPr/>
            </p:nvSpPr>
            <p:spPr>
              <a:xfrm>
                <a:off x="4430613" y="4731118"/>
                <a:ext cx="665598" cy="104063"/>
              </a:xfrm>
              <a:prstGeom prst="notchedRightArrow">
                <a:avLst>
                  <a:gd name="adj1" fmla="val 100000"/>
                  <a:gd name="adj2" fmla="val 20092"/>
                </a:avLst>
              </a:prstGeom>
              <a:solidFill>
                <a:srgbClr val="3498DB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891397">
                  <a:defRPr/>
                </a:pPr>
                <a:endParaRPr lang="fr-FR" sz="700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pic>
          <p:nvPicPr>
            <p:cNvPr id="210" name="Image 209">
              <a:extLst>
                <a:ext uri="{FF2B5EF4-FFF2-40B4-BE49-F238E27FC236}">
                  <a16:creationId xmlns:a16="http://schemas.microsoft.com/office/drawing/2014/main" id="{596024A9-1F39-41EF-8ABC-7DE5234607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829005" y="2324948"/>
              <a:ext cx="2569358" cy="1816681"/>
            </a:xfrm>
            <a:prstGeom prst="rect">
              <a:avLst/>
            </a:prstGeom>
          </p:spPr>
        </p:pic>
        <p:sp>
          <p:nvSpPr>
            <p:cNvPr id="211" name="Rectangle 210">
              <a:extLst>
                <a:ext uri="{FF2B5EF4-FFF2-40B4-BE49-F238E27FC236}">
                  <a16:creationId xmlns:a16="http://schemas.microsoft.com/office/drawing/2014/main" id="{B7ED12E7-2487-47BD-8C1C-97AC3BA56E16}"/>
                </a:ext>
              </a:extLst>
            </p:cNvPr>
            <p:cNvSpPr/>
            <p:nvPr/>
          </p:nvSpPr>
          <p:spPr>
            <a:xfrm>
              <a:off x="-981583" y="2416126"/>
              <a:ext cx="3100521" cy="15458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7800" lvl="4" indent="-177800"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fr-FR" sz="1050" dirty="0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Organise sprint  </a:t>
              </a:r>
              <a:r>
                <a:rPr lang="fr-FR" sz="1050" dirty="0" err="1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testing</a:t>
              </a:r>
              <a:endParaRPr lang="fr-FR" sz="1050" dirty="0">
                <a:solidFill>
                  <a:schemeClr val="bg1"/>
                </a:solidFill>
                <a:latin typeface="Gotham Rounded BoLD"/>
                <a:cs typeface="Arial" pitchFamily="34" charset="0"/>
              </a:endParaRPr>
            </a:p>
            <a:p>
              <a:pPr marL="177800" lvl="4" indent="-177800"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fr-FR" sz="1050" dirty="0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Manage </a:t>
              </a:r>
              <a:r>
                <a:rPr lang="fr-FR" sz="1050" dirty="0" err="1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alert</a:t>
              </a:r>
              <a:r>
                <a:rPr lang="fr-FR" sz="1050" dirty="0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 and </a:t>
              </a:r>
              <a:r>
                <a:rPr lang="fr-FR" sz="1050" dirty="0" err="1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failure</a:t>
              </a:r>
              <a:endParaRPr lang="fr-FR" sz="1050" dirty="0">
                <a:solidFill>
                  <a:schemeClr val="bg1"/>
                </a:solidFill>
                <a:latin typeface="Gotham Rounded BoLD"/>
                <a:cs typeface="Arial" pitchFamily="34" charset="0"/>
              </a:endParaRPr>
            </a:p>
            <a:p>
              <a:pPr marL="177800" lvl="4" indent="-177800"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fr-FR" sz="1050" dirty="0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Manage </a:t>
              </a:r>
              <a:r>
                <a:rPr lang="fr-FR" sz="1050" dirty="0" err="1">
                  <a:solidFill>
                    <a:schemeClr val="bg1"/>
                  </a:solidFill>
                  <a:latin typeface="Gotham Rounded BoLD"/>
                  <a:cs typeface="Arial" pitchFamily="34" charset="0"/>
                </a:rPr>
                <a:t>improvements</a:t>
              </a:r>
              <a:endParaRPr lang="fr-FR" sz="1050" dirty="0">
                <a:solidFill>
                  <a:schemeClr val="bg1"/>
                </a:solidFill>
                <a:latin typeface="Gotham Rounded BoLD"/>
                <a:cs typeface="Arial" pitchFamily="34" charset="0"/>
              </a:endParaRPr>
            </a:p>
          </p:txBody>
        </p:sp>
      </p:grpSp>
      <p:grpSp>
        <p:nvGrpSpPr>
          <p:cNvPr id="212" name="Group 85">
            <a:extLst>
              <a:ext uri="{FF2B5EF4-FFF2-40B4-BE49-F238E27FC236}">
                <a16:creationId xmlns:a16="http://schemas.microsoft.com/office/drawing/2014/main" id="{A41F1D62-5604-4098-B084-908C4773C370}"/>
              </a:ext>
            </a:extLst>
          </p:cNvPr>
          <p:cNvGrpSpPr/>
          <p:nvPr/>
        </p:nvGrpSpPr>
        <p:grpSpPr>
          <a:xfrm>
            <a:off x="5917691" y="8368570"/>
            <a:ext cx="764047" cy="887992"/>
            <a:chOff x="9910364" y="3714071"/>
            <a:chExt cx="1755835" cy="1801294"/>
          </a:xfrm>
        </p:grpSpPr>
        <p:sp>
          <p:nvSpPr>
            <p:cNvPr id="213" name="Oval 83">
              <a:extLst>
                <a:ext uri="{FF2B5EF4-FFF2-40B4-BE49-F238E27FC236}">
                  <a16:creationId xmlns:a16="http://schemas.microsoft.com/office/drawing/2014/main" id="{AB7E5073-ECCB-4F78-B18A-2E22A319D5BC}"/>
                </a:ext>
              </a:extLst>
            </p:cNvPr>
            <p:cNvSpPr/>
            <p:nvPr/>
          </p:nvSpPr>
          <p:spPr>
            <a:xfrm rot="21411471">
              <a:off x="9910364" y="4267377"/>
              <a:ext cx="1755835" cy="1247988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82"/>
            </a:p>
          </p:txBody>
        </p:sp>
        <p:sp>
          <p:nvSpPr>
            <p:cNvPr id="214" name="Freeform 5">
              <a:extLst>
                <a:ext uri="{FF2B5EF4-FFF2-40B4-BE49-F238E27FC236}">
                  <a16:creationId xmlns:a16="http://schemas.microsoft.com/office/drawing/2014/main" id="{C7342441-29AF-4FB5-9AF3-350FB7B19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6427" y="4355627"/>
              <a:ext cx="1489751" cy="592871"/>
            </a:xfrm>
            <a:custGeom>
              <a:avLst/>
              <a:gdLst>
                <a:gd name="T0" fmla="*/ 551 w 580"/>
                <a:gd name="T1" fmla="*/ 67 h 231"/>
                <a:gd name="T2" fmla="*/ 580 w 580"/>
                <a:gd name="T3" fmla="*/ 86 h 231"/>
                <a:gd name="T4" fmla="*/ 539 w 580"/>
                <a:gd name="T5" fmla="*/ 103 h 231"/>
                <a:gd name="T6" fmla="*/ 515 w 580"/>
                <a:gd name="T7" fmla="*/ 87 h 231"/>
                <a:gd name="T8" fmla="*/ 228 w 580"/>
                <a:gd name="T9" fmla="*/ 59 h 231"/>
                <a:gd name="T10" fmla="*/ 86 w 580"/>
                <a:gd name="T11" fmla="*/ 194 h 231"/>
                <a:gd name="T12" fmla="*/ 121 w 580"/>
                <a:gd name="T13" fmla="*/ 191 h 231"/>
                <a:gd name="T14" fmla="*/ 70 w 580"/>
                <a:gd name="T15" fmla="*/ 231 h 231"/>
                <a:gd name="T16" fmla="*/ 0 w 580"/>
                <a:gd name="T17" fmla="*/ 201 h 231"/>
                <a:gd name="T18" fmla="*/ 36 w 580"/>
                <a:gd name="T19" fmla="*/ 198 h 231"/>
                <a:gd name="T20" fmla="*/ 206 w 580"/>
                <a:gd name="T21" fmla="*/ 33 h 231"/>
                <a:gd name="T22" fmla="*/ 551 w 580"/>
                <a:gd name="T23" fmla="*/ 6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0" h="231">
                  <a:moveTo>
                    <a:pt x="551" y="67"/>
                  </a:moveTo>
                  <a:cubicBezTo>
                    <a:pt x="561" y="73"/>
                    <a:pt x="571" y="79"/>
                    <a:pt x="580" y="86"/>
                  </a:cubicBezTo>
                  <a:cubicBezTo>
                    <a:pt x="539" y="103"/>
                    <a:pt x="539" y="103"/>
                    <a:pt x="539" y="103"/>
                  </a:cubicBezTo>
                  <a:cubicBezTo>
                    <a:pt x="532" y="98"/>
                    <a:pt x="524" y="92"/>
                    <a:pt x="515" y="87"/>
                  </a:cubicBezTo>
                  <a:cubicBezTo>
                    <a:pt x="440" y="44"/>
                    <a:pt x="325" y="32"/>
                    <a:pt x="228" y="59"/>
                  </a:cubicBezTo>
                  <a:cubicBezTo>
                    <a:pt x="138" y="84"/>
                    <a:pt x="83" y="137"/>
                    <a:pt x="86" y="194"/>
                  </a:cubicBezTo>
                  <a:cubicBezTo>
                    <a:pt x="121" y="191"/>
                    <a:pt x="121" y="191"/>
                    <a:pt x="121" y="191"/>
                  </a:cubicBezTo>
                  <a:cubicBezTo>
                    <a:pt x="70" y="231"/>
                    <a:pt x="70" y="231"/>
                    <a:pt x="70" y="23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36" y="198"/>
                    <a:pt x="36" y="198"/>
                    <a:pt x="36" y="198"/>
                  </a:cubicBezTo>
                  <a:cubicBezTo>
                    <a:pt x="30" y="128"/>
                    <a:pt x="96" y="63"/>
                    <a:pt x="206" y="33"/>
                  </a:cubicBezTo>
                  <a:cubicBezTo>
                    <a:pt x="322" y="0"/>
                    <a:pt x="461" y="15"/>
                    <a:pt x="551" y="67"/>
                  </a:cubicBez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  <p:sp>
          <p:nvSpPr>
            <p:cNvPr id="215" name="Freeform 6">
              <a:extLst>
                <a:ext uri="{FF2B5EF4-FFF2-40B4-BE49-F238E27FC236}">
                  <a16:creationId xmlns:a16="http://schemas.microsoft.com/office/drawing/2014/main" id="{D8E357F3-5ADA-4EC1-B281-70CC751D87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26427" y="4437850"/>
              <a:ext cx="1384808" cy="595035"/>
            </a:xfrm>
            <a:custGeom>
              <a:avLst/>
              <a:gdLst>
                <a:gd name="T0" fmla="*/ 36 w 539"/>
                <a:gd name="T1" fmla="*/ 166 h 232"/>
                <a:gd name="T2" fmla="*/ 36 w 539"/>
                <a:gd name="T3" fmla="*/ 166 h 232"/>
                <a:gd name="T4" fmla="*/ 36 w 539"/>
                <a:gd name="T5" fmla="*/ 157 h 232"/>
                <a:gd name="T6" fmla="*/ 36 w 539"/>
                <a:gd name="T7" fmla="*/ 158 h 232"/>
                <a:gd name="T8" fmla="*/ 36 w 539"/>
                <a:gd name="T9" fmla="*/ 166 h 232"/>
                <a:gd name="T10" fmla="*/ 515 w 539"/>
                <a:gd name="T11" fmla="*/ 55 h 232"/>
                <a:gd name="T12" fmla="*/ 228 w 539"/>
                <a:gd name="T13" fmla="*/ 27 h 232"/>
                <a:gd name="T14" fmla="*/ 86 w 539"/>
                <a:gd name="T15" fmla="*/ 162 h 232"/>
                <a:gd name="T16" fmla="*/ 91 w 539"/>
                <a:gd name="T17" fmla="*/ 162 h 232"/>
                <a:gd name="T18" fmla="*/ 228 w 539"/>
                <a:gd name="T19" fmla="*/ 60 h 232"/>
                <a:gd name="T20" fmla="*/ 515 w 539"/>
                <a:gd name="T21" fmla="*/ 88 h 232"/>
                <a:gd name="T22" fmla="*/ 539 w 539"/>
                <a:gd name="T23" fmla="*/ 104 h 232"/>
                <a:gd name="T24" fmla="*/ 539 w 539"/>
                <a:gd name="T25" fmla="*/ 71 h 232"/>
                <a:gd name="T26" fmla="*/ 515 w 539"/>
                <a:gd name="T27" fmla="*/ 55 h 232"/>
                <a:gd name="T28" fmla="*/ 0 w 539"/>
                <a:gd name="T29" fmla="*/ 202 h 232"/>
                <a:gd name="T30" fmla="*/ 70 w 539"/>
                <a:gd name="T31" fmla="*/ 232 h 232"/>
                <a:gd name="T32" fmla="*/ 70 w 539"/>
                <a:gd name="T33" fmla="*/ 199 h 232"/>
                <a:gd name="T34" fmla="*/ 0 w 539"/>
                <a:gd name="T35" fmla="*/ 169 h 232"/>
                <a:gd name="T36" fmla="*/ 0 w 539"/>
                <a:gd name="T37" fmla="*/ 20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9" h="232">
                  <a:moveTo>
                    <a:pt x="36" y="166"/>
                  </a:moveTo>
                  <a:cubicBezTo>
                    <a:pt x="36" y="166"/>
                    <a:pt x="36" y="166"/>
                    <a:pt x="36" y="166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6" y="158"/>
                    <a:pt x="36" y="158"/>
                    <a:pt x="36" y="158"/>
                  </a:cubicBezTo>
                  <a:cubicBezTo>
                    <a:pt x="36" y="161"/>
                    <a:pt x="36" y="164"/>
                    <a:pt x="36" y="166"/>
                  </a:cubicBezTo>
                  <a:close/>
                  <a:moveTo>
                    <a:pt x="515" y="55"/>
                  </a:moveTo>
                  <a:cubicBezTo>
                    <a:pt x="440" y="12"/>
                    <a:pt x="325" y="0"/>
                    <a:pt x="228" y="27"/>
                  </a:cubicBezTo>
                  <a:cubicBezTo>
                    <a:pt x="138" y="52"/>
                    <a:pt x="83" y="105"/>
                    <a:pt x="86" y="162"/>
                  </a:cubicBezTo>
                  <a:cubicBezTo>
                    <a:pt x="91" y="162"/>
                    <a:pt x="91" y="162"/>
                    <a:pt x="91" y="162"/>
                  </a:cubicBezTo>
                  <a:cubicBezTo>
                    <a:pt x="106" y="118"/>
                    <a:pt x="156" y="80"/>
                    <a:pt x="228" y="60"/>
                  </a:cubicBezTo>
                  <a:cubicBezTo>
                    <a:pt x="325" y="32"/>
                    <a:pt x="440" y="45"/>
                    <a:pt x="515" y="88"/>
                  </a:cubicBezTo>
                  <a:cubicBezTo>
                    <a:pt x="524" y="93"/>
                    <a:pt x="532" y="98"/>
                    <a:pt x="539" y="104"/>
                  </a:cubicBezTo>
                  <a:cubicBezTo>
                    <a:pt x="539" y="71"/>
                    <a:pt x="539" y="71"/>
                    <a:pt x="539" y="71"/>
                  </a:cubicBezTo>
                  <a:cubicBezTo>
                    <a:pt x="532" y="66"/>
                    <a:pt x="524" y="60"/>
                    <a:pt x="515" y="55"/>
                  </a:cubicBezTo>
                  <a:close/>
                  <a:moveTo>
                    <a:pt x="0" y="202"/>
                  </a:moveTo>
                  <a:cubicBezTo>
                    <a:pt x="70" y="232"/>
                    <a:pt x="70" y="232"/>
                    <a:pt x="70" y="232"/>
                  </a:cubicBezTo>
                  <a:cubicBezTo>
                    <a:pt x="70" y="199"/>
                    <a:pt x="70" y="199"/>
                    <a:pt x="70" y="199"/>
                  </a:cubicBezTo>
                  <a:cubicBezTo>
                    <a:pt x="0" y="169"/>
                    <a:pt x="0" y="169"/>
                    <a:pt x="0" y="169"/>
                  </a:cubicBezTo>
                  <a:lnTo>
                    <a:pt x="0" y="202"/>
                  </a:ln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  <p:sp>
          <p:nvSpPr>
            <p:cNvPr id="216" name="Freeform 7">
              <a:extLst>
                <a:ext uri="{FF2B5EF4-FFF2-40B4-BE49-F238E27FC236}">
                  <a16:creationId xmlns:a16="http://schemas.microsoft.com/office/drawing/2014/main" id="{DEABE595-E6FB-45A1-B1BD-B0D25AAD46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6019" y="4576331"/>
              <a:ext cx="1310158" cy="456554"/>
            </a:xfrm>
            <a:custGeom>
              <a:avLst/>
              <a:gdLst>
                <a:gd name="T0" fmla="*/ 1211 w 1211"/>
                <a:gd name="T1" fmla="*/ 0 h 422"/>
                <a:gd name="T2" fmla="*/ 1209 w 1211"/>
                <a:gd name="T3" fmla="*/ 76 h 422"/>
                <a:gd name="T4" fmla="*/ 1114 w 1211"/>
                <a:gd name="T5" fmla="*/ 119 h 422"/>
                <a:gd name="T6" fmla="*/ 1114 w 1211"/>
                <a:gd name="T7" fmla="*/ 40 h 422"/>
                <a:gd name="T8" fmla="*/ 1211 w 1211"/>
                <a:gd name="T9" fmla="*/ 0 h 422"/>
                <a:gd name="T10" fmla="*/ 0 w 1211"/>
                <a:gd name="T11" fmla="*/ 422 h 422"/>
                <a:gd name="T12" fmla="*/ 122 w 1211"/>
                <a:gd name="T13" fmla="*/ 327 h 422"/>
                <a:gd name="T14" fmla="*/ 122 w 1211"/>
                <a:gd name="T15" fmla="*/ 249 h 422"/>
                <a:gd name="T16" fmla="*/ 0 w 1211"/>
                <a:gd name="T17" fmla="*/ 344 h 422"/>
                <a:gd name="T18" fmla="*/ 0 w 1211"/>
                <a:gd name="T19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1" h="422">
                  <a:moveTo>
                    <a:pt x="1211" y="0"/>
                  </a:moveTo>
                  <a:lnTo>
                    <a:pt x="1209" y="76"/>
                  </a:lnTo>
                  <a:lnTo>
                    <a:pt x="1114" y="119"/>
                  </a:lnTo>
                  <a:lnTo>
                    <a:pt x="1114" y="40"/>
                  </a:lnTo>
                  <a:lnTo>
                    <a:pt x="1211" y="0"/>
                  </a:lnTo>
                  <a:close/>
                  <a:moveTo>
                    <a:pt x="0" y="422"/>
                  </a:moveTo>
                  <a:lnTo>
                    <a:pt x="122" y="327"/>
                  </a:lnTo>
                  <a:lnTo>
                    <a:pt x="122" y="249"/>
                  </a:lnTo>
                  <a:lnTo>
                    <a:pt x="0" y="344"/>
                  </a:lnTo>
                  <a:lnTo>
                    <a:pt x="0" y="422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  <p:sp>
          <p:nvSpPr>
            <p:cNvPr id="218" name="Freeform 8">
              <a:extLst>
                <a:ext uri="{FF2B5EF4-FFF2-40B4-BE49-F238E27FC236}">
                  <a16:creationId xmlns:a16="http://schemas.microsoft.com/office/drawing/2014/main" id="{6528823A-DEA8-4861-886B-A8ADF8BE5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3096" y="4740777"/>
              <a:ext cx="1486505" cy="592871"/>
            </a:xfrm>
            <a:custGeom>
              <a:avLst/>
              <a:gdLst>
                <a:gd name="T0" fmla="*/ 579 w 579"/>
                <a:gd name="T1" fmla="*/ 30 h 231"/>
                <a:gd name="T2" fmla="*/ 544 w 579"/>
                <a:gd name="T3" fmla="*/ 33 h 231"/>
                <a:gd name="T4" fmla="*/ 374 w 579"/>
                <a:gd name="T5" fmla="*/ 198 h 231"/>
                <a:gd name="T6" fmla="*/ 29 w 579"/>
                <a:gd name="T7" fmla="*/ 164 h 231"/>
                <a:gd name="T8" fmla="*/ 0 w 579"/>
                <a:gd name="T9" fmla="*/ 145 h 231"/>
                <a:gd name="T10" fmla="*/ 40 w 579"/>
                <a:gd name="T11" fmla="*/ 128 h 231"/>
                <a:gd name="T12" fmla="*/ 64 w 579"/>
                <a:gd name="T13" fmla="*/ 144 h 231"/>
                <a:gd name="T14" fmla="*/ 352 w 579"/>
                <a:gd name="T15" fmla="*/ 172 h 231"/>
                <a:gd name="T16" fmla="*/ 494 w 579"/>
                <a:gd name="T17" fmla="*/ 37 h 231"/>
                <a:gd name="T18" fmla="*/ 458 w 579"/>
                <a:gd name="T19" fmla="*/ 40 h 231"/>
                <a:gd name="T20" fmla="*/ 510 w 579"/>
                <a:gd name="T21" fmla="*/ 0 h 231"/>
                <a:gd name="T22" fmla="*/ 579 w 579"/>
                <a:gd name="T23" fmla="*/ 3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9" h="231">
                  <a:moveTo>
                    <a:pt x="579" y="30"/>
                  </a:moveTo>
                  <a:cubicBezTo>
                    <a:pt x="544" y="33"/>
                    <a:pt x="544" y="33"/>
                    <a:pt x="544" y="33"/>
                  </a:cubicBezTo>
                  <a:cubicBezTo>
                    <a:pt x="550" y="103"/>
                    <a:pt x="483" y="168"/>
                    <a:pt x="374" y="198"/>
                  </a:cubicBezTo>
                  <a:cubicBezTo>
                    <a:pt x="257" y="231"/>
                    <a:pt x="119" y="216"/>
                    <a:pt x="29" y="164"/>
                  </a:cubicBezTo>
                  <a:cubicBezTo>
                    <a:pt x="19" y="158"/>
                    <a:pt x="9" y="152"/>
                    <a:pt x="0" y="145"/>
                  </a:cubicBezTo>
                  <a:cubicBezTo>
                    <a:pt x="40" y="128"/>
                    <a:pt x="40" y="128"/>
                    <a:pt x="40" y="128"/>
                  </a:cubicBezTo>
                  <a:cubicBezTo>
                    <a:pt x="48" y="133"/>
                    <a:pt x="56" y="139"/>
                    <a:pt x="64" y="144"/>
                  </a:cubicBezTo>
                  <a:cubicBezTo>
                    <a:pt x="139" y="187"/>
                    <a:pt x="255" y="199"/>
                    <a:pt x="352" y="172"/>
                  </a:cubicBezTo>
                  <a:cubicBezTo>
                    <a:pt x="442" y="147"/>
                    <a:pt x="496" y="94"/>
                    <a:pt x="494" y="37"/>
                  </a:cubicBezTo>
                  <a:cubicBezTo>
                    <a:pt x="458" y="40"/>
                    <a:pt x="458" y="40"/>
                    <a:pt x="458" y="40"/>
                  </a:cubicBezTo>
                  <a:cubicBezTo>
                    <a:pt x="510" y="0"/>
                    <a:pt x="510" y="0"/>
                    <a:pt x="510" y="0"/>
                  </a:cubicBezTo>
                  <a:lnTo>
                    <a:pt x="579" y="30"/>
                  </a:lnTo>
                  <a:close/>
                </a:path>
              </a:pathLst>
            </a:custGeom>
            <a:solidFill>
              <a:srgbClr val="A6A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  <p:sp>
          <p:nvSpPr>
            <p:cNvPr id="219" name="Freeform 9">
              <a:extLst>
                <a:ext uri="{FF2B5EF4-FFF2-40B4-BE49-F238E27FC236}">
                  <a16:creationId xmlns:a16="http://schemas.microsoft.com/office/drawing/2014/main" id="{40100880-63BB-4362-B110-9250031823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49101" y="4817590"/>
              <a:ext cx="310500" cy="110352"/>
            </a:xfrm>
            <a:custGeom>
              <a:avLst/>
              <a:gdLst>
                <a:gd name="T0" fmla="*/ 31 w 121"/>
                <a:gd name="T1" fmla="*/ 40 h 43"/>
                <a:gd name="T2" fmla="*/ 0 w 121"/>
                <a:gd name="T3" fmla="*/ 43 h 43"/>
                <a:gd name="T4" fmla="*/ 0 w 121"/>
                <a:gd name="T5" fmla="*/ 10 h 43"/>
                <a:gd name="T6" fmla="*/ 36 w 121"/>
                <a:gd name="T7" fmla="*/ 7 h 43"/>
                <a:gd name="T8" fmla="*/ 36 w 121"/>
                <a:gd name="T9" fmla="*/ 15 h 43"/>
                <a:gd name="T10" fmla="*/ 31 w 121"/>
                <a:gd name="T11" fmla="*/ 40 h 43"/>
                <a:gd name="T12" fmla="*/ 86 w 121"/>
                <a:gd name="T13" fmla="*/ 3 h 43"/>
                <a:gd name="T14" fmla="*/ 86 w 121"/>
                <a:gd name="T15" fmla="*/ 20 h 43"/>
                <a:gd name="T16" fmla="*/ 86 w 121"/>
                <a:gd name="T17" fmla="*/ 35 h 43"/>
                <a:gd name="T18" fmla="*/ 121 w 121"/>
                <a:gd name="T19" fmla="*/ 32 h 43"/>
                <a:gd name="T20" fmla="*/ 121 w 121"/>
                <a:gd name="T21" fmla="*/ 0 h 43"/>
                <a:gd name="T22" fmla="*/ 86 w 121"/>
                <a:gd name="T23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1" h="43">
                  <a:moveTo>
                    <a:pt x="31" y="4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5" y="23"/>
                    <a:pt x="34" y="32"/>
                    <a:pt x="31" y="40"/>
                  </a:cubicBezTo>
                  <a:close/>
                  <a:moveTo>
                    <a:pt x="86" y="3"/>
                  </a:moveTo>
                  <a:cubicBezTo>
                    <a:pt x="86" y="8"/>
                    <a:pt x="86" y="14"/>
                    <a:pt x="86" y="20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121" y="32"/>
                    <a:pt x="121" y="32"/>
                    <a:pt x="121" y="32"/>
                  </a:cubicBezTo>
                  <a:cubicBezTo>
                    <a:pt x="121" y="0"/>
                    <a:pt x="121" y="0"/>
                    <a:pt x="121" y="0"/>
                  </a:cubicBezTo>
                  <a:lnTo>
                    <a:pt x="86" y="3"/>
                  </a:lnTo>
                  <a:close/>
                </a:path>
              </a:pathLst>
            </a:custGeom>
            <a:solidFill>
              <a:srgbClr val="929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  <p:sp>
          <p:nvSpPr>
            <p:cNvPr id="220" name="Freeform 10">
              <a:extLst>
                <a:ext uri="{FF2B5EF4-FFF2-40B4-BE49-F238E27FC236}">
                  <a16:creationId xmlns:a16="http://schemas.microsoft.com/office/drawing/2014/main" id="{774C6A21-5D4D-4D64-94EE-722B7976B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3096" y="4847883"/>
              <a:ext cx="1396709" cy="567988"/>
            </a:xfrm>
            <a:custGeom>
              <a:avLst/>
              <a:gdLst>
                <a:gd name="T0" fmla="*/ 544 w 544"/>
                <a:gd name="T1" fmla="*/ 0 h 221"/>
                <a:gd name="T2" fmla="*/ 544 w 544"/>
                <a:gd name="T3" fmla="*/ 32 h 221"/>
                <a:gd name="T4" fmla="*/ 374 w 544"/>
                <a:gd name="T5" fmla="*/ 189 h 221"/>
                <a:gd name="T6" fmla="*/ 29 w 544"/>
                <a:gd name="T7" fmla="*/ 155 h 221"/>
                <a:gd name="T8" fmla="*/ 0 w 544"/>
                <a:gd name="T9" fmla="*/ 136 h 221"/>
                <a:gd name="T10" fmla="*/ 0 w 544"/>
                <a:gd name="T11" fmla="*/ 103 h 221"/>
                <a:gd name="T12" fmla="*/ 29 w 544"/>
                <a:gd name="T13" fmla="*/ 122 h 221"/>
                <a:gd name="T14" fmla="*/ 374 w 544"/>
                <a:gd name="T15" fmla="*/ 156 h 221"/>
                <a:gd name="T16" fmla="*/ 544 w 544"/>
                <a:gd name="T17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4" h="221">
                  <a:moveTo>
                    <a:pt x="544" y="0"/>
                  </a:moveTo>
                  <a:cubicBezTo>
                    <a:pt x="544" y="32"/>
                    <a:pt x="544" y="32"/>
                    <a:pt x="544" y="32"/>
                  </a:cubicBezTo>
                  <a:cubicBezTo>
                    <a:pt x="544" y="99"/>
                    <a:pt x="479" y="160"/>
                    <a:pt x="374" y="189"/>
                  </a:cubicBezTo>
                  <a:cubicBezTo>
                    <a:pt x="257" y="221"/>
                    <a:pt x="119" y="207"/>
                    <a:pt x="29" y="155"/>
                  </a:cubicBezTo>
                  <a:cubicBezTo>
                    <a:pt x="19" y="149"/>
                    <a:pt x="9" y="143"/>
                    <a:pt x="0" y="13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9" y="110"/>
                    <a:pt x="19" y="116"/>
                    <a:pt x="29" y="122"/>
                  </a:cubicBezTo>
                  <a:cubicBezTo>
                    <a:pt x="119" y="174"/>
                    <a:pt x="257" y="189"/>
                    <a:pt x="374" y="156"/>
                  </a:cubicBezTo>
                  <a:cubicBezTo>
                    <a:pt x="479" y="127"/>
                    <a:pt x="544" y="66"/>
                    <a:pt x="544" y="0"/>
                  </a:cubicBez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  <p:sp>
          <p:nvSpPr>
            <p:cNvPr id="221" name="Freeform 11">
              <a:extLst>
                <a:ext uri="{FF2B5EF4-FFF2-40B4-BE49-F238E27FC236}">
                  <a16:creationId xmlns:a16="http://schemas.microsoft.com/office/drawing/2014/main" id="{A6FEA5F4-CFA9-40E6-9723-ED5E4A7A4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3596" y="4668291"/>
              <a:ext cx="72486" cy="113598"/>
            </a:xfrm>
            <a:custGeom>
              <a:avLst/>
              <a:gdLst>
                <a:gd name="T0" fmla="*/ 19 w 28"/>
                <a:gd name="T1" fmla="*/ 11 h 44"/>
                <a:gd name="T2" fmla="*/ 0 w 28"/>
                <a:gd name="T3" fmla="*/ 0 h 44"/>
                <a:gd name="T4" fmla="*/ 0 w 28"/>
                <a:gd name="T5" fmla="*/ 44 h 44"/>
                <a:gd name="T6" fmla="*/ 28 w 28"/>
                <a:gd name="T7" fmla="*/ 28 h 44"/>
                <a:gd name="T8" fmla="*/ 28 w 28"/>
                <a:gd name="T9" fmla="*/ 15 h 44"/>
                <a:gd name="T10" fmla="*/ 19 w 28"/>
                <a:gd name="T11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44">
                  <a:moveTo>
                    <a:pt x="19" y="1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5" y="14"/>
                    <a:pt x="22" y="12"/>
                    <a:pt x="19" y="11"/>
                  </a:cubicBezTo>
                  <a:close/>
                </a:path>
              </a:pathLst>
            </a:custGeom>
            <a:solidFill>
              <a:srgbClr val="008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  <p:sp>
          <p:nvSpPr>
            <p:cNvPr id="223" name="Freeform 12">
              <a:extLst>
                <a:ext uri="{FF2B5EF4-FFF2-40B4-BE49-F238E27FC236}">
                  <a16:creationId xmlns:a16="http://schemas.microsoft.com/office/drawing/2014/main" id="{8FA80C83-404D-4144-8865-A7ABA9264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6427" y="3742200"/>
              <a:ext cx="717287" cy="1039688"/>
            </a:xfrm>
            <a:custGeom>
              <a:avLst/>
              <a:gdLst>
                <a:gd name="T0" fmla="*/ 236 w 279"/>
                <a:gd name="T1" fmla="*/ 125 h 405"/>
                <a:gd name="T2" fmla="*/ 279 w 279"/>
                <a:gd name="T3" fmla="*/ 198 h 405"/>
                <a:gd name="T4" fmla="*/ 278 w 279"/>
                <a:gd name="T5" fmla="*/ 347 h 405"/>
                <a:gd name="T6" fmla="*/ 236 w 279"/>
                <a:gd name="T7" fmla="*/ 372 h 405"/>
                <a:gd name="T8" fmla="*/ 217 w 279"/>
                <a:gd name="T9" fmla="*/ 361 h 405"/>
                <a:gd name="T10" fmla="*/ 217 w 279"/>
                <a:gd name="T11" fmla="*/ 405 h 405"/>
                <a:gd name="T12" fmla="*/ 178 w 279"/>
                <a:gd name="T13" fmla="*/ 338 h 405"/>
                <a:gd name="T14" fmla="*/ 43 w 279"/>
                <a:gd name="T15" fmla="*/ 260 h 405"/>
                <a:gd name="T16" fmla="*/ 0 w 279"/>
                <a:gd name="T17" fmla="*/ 187 h 405"/>
                <a:gd name="T18" fmla="*/ 1 w 279"/>
                <a:gd name="T19" fmla="*/ 37 h 405"/>
                <a:gd name="T20" fmla="*/ 43 w 279"/>
                <a:gd name="T21" fmla="*/ 13 h 405"/>
                <a:gd name="T22" fmla="*/ 236 w 279"/>
                <a:gd name="T23" fmla="*/ 12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9" h="405">
                  <a:moveTo>
                    <a:pt x="236" y="125"/>
                  </a:moveTo>
                  <a:cubicBezTo>
                    <a:pt x="260" y="138"/>
                    <a:pt x="279" y="171"/>
                    <a:pt x="279" y="198"/>
                  </a:cubicBezTo>
                  <a:cubicBezTo>
                    <a:pt x="278" y="347"/>
                    <a:pt x="278" y="347"/>
                    <a:pt x="278" y="347"/>
                  </a:cubicBezTo>
                  <a:cubicBezTo>
                    <a:pt x="278" y="374"/>
                    <a:pt x="259" y="385"/>
                    <a:pt x="236" y="372"/>
                  </a:cubicBezTo>
                  <a:cubicBezTo>
                    <a:pt x="217" y="361"/>
                    <a:pt x="217" y="361"/>
                    <a:pt x="217" y="361"/>
                  </a:cubicBezTo>
                  <a:cubicBezTo>
                    <a:pt x="217" y="405"/>
                    <a:pt x="217" y="405"/>
                    <a:pt x="217" y="405"/>
                  </a:cubicBezTo>
                  <a:cubicBezTo>
                    <a:pt x="178" y="338"/>
                    <a:pt x="178" y="338"/>
                    <a:pt x="178" y="338"/>
                  </a:cubicBezTo>
                  <a:cubicBezTo>
                    <a:pt x="43" y="260"/>
                    <a:pt x="43" y="260"/>
                    <a:pt x="43" y="260"/>
                  </a:cubicBezTo>
                  <a:cubicBezTo>
                    <a:pt x="19" y="247"/>
                    <a:pt x="0" y="214"/>
                    <a:pt x="0" y="18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11"/>
                    <a:pt x="20" y="0"/>
                    <a:pt x="43" y="13"/>
                  </a:cubicBezTo>
                  <a:lnTo>
                    <a:pt x="236" y="125"/>
                  </a:lnTo>
                  <a:close/>
                </a:path>
              </a:pathLst>
            </a:custGeom>
            <a:solidFill>
              <a:srgbClr val="005D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  <p:sp>
          <p:nvSpPr>
            <p:cNvPr id="224" name="Freeform 13">
              <a:extLst>
                <a:ext uri="{FF2B5EF4-FFF2-40B4-BE49-F238E27FC236}">
                  <a16:creationId xmlns:a16="http://schemas.microsoft.com/office/drawing/2014/main" id="{D47214CA-8F14-4E72-AFA1-5B19D12BC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9965" y="3714071"/>
              <a:ext cx="755153" cy="991004"/>
            </a:xfrm>
            <a:custGeom>
              <a:avLst/>
              <a:gdLst>
                <a:gd name="T0" fmla="*/ 294 w 294"/>
                <a:gd name="T1" fmla="*/ 193 h 386"/>
                <a:gd name="T2" fmla="*/ 293 w 294"/>
                <a:gd name="T3" fmla="*/ 342 h 386"/>
                <a:gd name="T4" fmla="*/ 281 w 294"/>
                <a:gd name="T5" fmla="*/ 369 h 386"/>
                <a:gd name="T6" fmla="*/ 253 w 294"/>
                <a:gd name="T7" fmla="*/ 386 h 386"/>
                <a:gd name="T8" fmla="*/ 265 w 294"/>
                <a:gd name="T9" fmla="*/ 358 h 386"/>
                <a:gd name="T10" fmla="*/ 266 w 294"/>
                <a:gd name="T11" fmla="*/ 209 h 386"/>
                <a:gd name="T12" fmla="*/ 223 w 294"/>
                <a:gd name="T13" fmla="*/ 136 h 386"/>
                <a:gd name="T14" fmla="*/ 30 w 294"/>
                <a:gd name="T15" fmla="*/ 24 h 386"/>
                <a:gd name="T16" fmla="*/ 0 w 294"/>
                <a:gd name="T17" fmla="*/ 21 h 386"/>
                <a:gd name="T18" fmla="*/ 28 w 294"/>
                <a:gd name="T19" fmla="*/ 5 h 386"/>
                <a:gd name="T20" fmla="*/ 59 w 294"/>
                <a:gd name="T21" fmla="*/ 8 h 386"/>
                <a:gd name="T22" fmla="*/ 251 w 294"/>
                <a:gd name="T23" fmla="*/ 119 h 386"/>
                <a:gd name="T24" fmla="*/ 294 w 294"/>
                <a:gd name="T25" fmla="*/ 193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4" h="386">
                  <a:moveTo>
                    <a:pt x="294" y="193"/>
                  </a:moveTo>
                  <a:cubicBezTo>
                    <a:pt x="293" y="342"/>
                    <a:pt x="293" y="342"/>
                    <a:pt x="293" y="342"/>
                  </a:cubicBezTo>
                  <a:cubicBezTo>
                    <a:pt x="293" y="355"/>
                    <a:pt x="289" y="365"/>
                    <a:pt x="281" y="369"/>
                  </a:cubicBezTo>
                  <a:cubicBezTo>
                    <a:pt x="253" y="386"/>
                    <a:pt x="253" y="386"/>
                    <a:pt x="253" y="386"/>
                  </a:cubicBezTo>
                  <a:cubicBezTo>
                    <a:pt x="260" y="381"/>
                    <a:pt x="265" y="372"/>
                    <a:pt x="265" y="358"/>
                  </a:cubicBezTo>
                  <a:cubicBezTo>
                    <a:pt x="266" y="209"/>
                    <a:pt x="266" y="209"/>
                    <a:pt x="266" y="209"/>
                  </a:cubicBezTo>
                  <a:cubicBezTo>
                    <a:pt x="266" y="182"/>
                    <a:pt x="247" y="149"/>
                    <a:pt x="223" y="136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19" y="17"/>
                    <a:pt x="8" y="17"/>
                    <a:pt x="0" y="21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36" y="0"/>
                    <a:pt x="47" y="1"/>
                    <a:pt x="59" y="8"/>
                  </a:cubicBezTo>
                  <a:cubicBezTo>
                    <a:pt x="251" y="119"/>
                    <a:pt x="251" y="119"/>
                    <a:pt x="251" y="119"/>
                  </a:cubicBezTo>
                  <a:cubicBezTo>
                    <a:pt x="275" y="133"/>
                    <a:pt x="294" y="166"/>
                    <a:pt x="294" y="193"/>
                  </a:cubicBezTo>
                  <a:close/>
                </a:path>
              </a:pathLst>
            </a:custGeom>
            <a:solidFill>
              <a:srgbClr val="0085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  <p:sp>
          <p:nvSpPr>
            <p:cNvPr id="226" name="Freeform 14">
              <a:extLst>
                <a:ext uri="{FF2B5EF4-FFF2-40B4-BE49-F238E27FC236}">
                  <a16:creationId xmlns:a16="http://schemas.microsoft.com/office/drawing/2014/main" id="{CC1302AA-DA53-4644-8F9D-A1204373E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70317" y="4073256"/>
              <a:ext cx="429507" cy="323483"/>
            </a:xfrm>
            <a:custGeom>
              <a:avLst/>
              <a:gdLst>
                <a:gd name="T0" fmla="*/ 34 w 167"/>
                <a:gd name="T1" fmla="*/ 35 h 126"/>
                <a:gd name="T2" fmla="*/ 17 w 167"/>
                <a:gd name="T3" fmla="*/ 44 h 126"/>
                <a:gd name="T4" fmla="*/ 0 w 167"/>
                <a:gd name="T5" fmla="*/ 15 h 126"/>
                <a:gd name="T6" fmla="*/ 17 w 167"/>
                <a:gd name="T7" fmla="*/ 5 h 126"/>
                <a:gd name="T8" fmla="*/ 34 w 167"/>
                <a:gd name="T9" fmla="*/ 35 h 126"/>
                <a:gd name="T10" fmla="*/ 150 w 167"/>
                <a:gd name="T11" fmla="*/ 82 h 126"/>
                <a:gd name="T12" fmla="*/ 133 w 167"/>
                <a:gd name="T13" fmla="*/ 91 h 126"/>
                <a:gd name="T14" fmla="*/ 150 w 167"/>
                <a:gd name="T15" fmla="*/ 121 h 126"/>
                <a:gd name="T16" fmla="*/ 167 w 167"/>
                <a:gd name="T17" fmla="*/ 111 h 126"/>
                <a:gd name="T18" fmla="*/ 150 w 167"/>
                <a:gd name="T19" fmla="*/ 82 h 126"/>
                <a:gd name="T20" fmla="*/ 84 w 167"/>
                <a:gd name="T21" fmla="*/ 44 h 126"/>
                <a:gd name="T22" fmla="*/ 66 w 167"/>
                <a:gd name="T23" fmla="*/ 53 h 126"/>
                <a:gd name="T24" fmla="*/ 83 w 167"/>
                <a:gd name="T25" fmla="*/ 83 h 126"/>
                <a:gd name="T26" fmla="*/ 100 w 167"/>
                <a:gd name="T27" fmla="*/ 73 h 126"/>
                <a:gd name="T28" fmla="*/ 84 w 167"/>
                <a:gd name="T29" fmla="*/ 4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7" h="126">
                  <a:moveTo>
                    <a:pt x="34" y="35"/>
                  </a:moveTo>
                  <a:cubicBezTo>
                    <a:pt x="34" y="45"/>
                    <a:pt x="27" y="50"/>
                    <a:pt x="17" y="44"/>
                  </a:cubicBezTo>
                  <a:cubicBezTo>
                    <a:pt x="8" y="39"/>
                    <a:pt x="0" y="26"/>
                    <a:pt x="0" y="15"/>
                  </a:cubicBezTo>
                  <a:cubicBezTo>
                    <a:pt x="0" y="4"/>
                    <a:pt x="8" y="0"/>
                    <a:pt x="17" y="5"/>
                  </a:cubicBezTo>
                  <a:cubicBezTo>
                    <a:pt x="27" y="11"/>
                    <a:pt x="34" y="24"/>
                    <a:pt x="34" y="35"/>
                  </a:cubicBezTo>
                  <a:close/>
                  <a:moveTo>
                    <a:pt x="150" y="82"/>
                  </a:moveTo>
                  <a:cubicBezTo>
                    <a:pt x="140" y="76"/>
                    <a:pt x="133" y="81"/>
                    <a:pt x="133" y="91"/>
                  </a:cubicBezTo>
                  <a:cubicBezTo>
                    <a:pt x="133" y="102"/>
                    <a:pt x="140" y="115"/>
                    <a:pt x="150" y="121"/>
                  </a:cubicBezTo>
                  <a:cubicBezTo>
                    <a:pt x="159" y="126"/>
                    <a:pt x="167" y="122"/>
                    <a:pt x="167" y="111"/>
                  </a:cubicBezTo>
                  <a:cubicBezTo>
                    <a:pt x="167" y="100"/>
                    <a:pt x="159" y="87"/>
                    <a:pt x="150" y="82"/>
                  </a:cubicBezTo>
                  <a:close/>
                  <a:moveTo>
                    <a:pt x="84" y="44"/>
                  </a:moveTo>
                  <a:cubicBezTo>
                    <a:pt x="74" y="38"/>
                    <a:pt x="66" y="42"/>
                    <a:pt x="66" y="53"/>
                  </a:cubicBezTo>
                  <a:cubicBezTo>
                    <a:pt x="66" y="64"/>
                    <a:pt x="74" y="77"/>
                    <a:pt x="83" y="83"/>
                  </a:cubicBezTo>
                  <a:cubicBezTo>
                    <a:pt x="93" y="88"/>
                    <a:pt x="100" y="84"/>
                    <a:pt x="100" y="73"/>
                  </a:cubicBezTo>
                  <a:cubicBezTo>
                    <a:pt x="101" y="62"/>
                    <a:pt x="93" y="49"/>
                    <a:pt x="84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  <p:sp>
          <p:nvSpPr>
            <p:cNvPr id="227" name="Freeform 15">
              <a:extLst>
                <a:ext uri="{FF2B5EF4-FFF2-40B4-BE49-F238E27FC236}">
                  <a16:creationId xmlns:a16="http://schemas.microsoft.com/office/drawing/2014/main" id="{999C0572-F246-4A97-92E8-AF00D6639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9768" y="4006179"/>
              <a:ext cx="714042" cy="1041852"/>
            </a:xfrm>
            <a:custGeom>
              <a:avLst/>
              <a:gdLst>
                <a:gd name="T0" fmla="*/ 235 w 278"/>
                <a:gd name="T1" fmla="*/ 13 h 406"/>
                <a:gd name="T2" fmla="*/ 278 w 278"/>
                <a:gd name="T3" fmla="*/ 38 h 406"/>
                <a:gd name="T4" fmla="*/ 278 w 278"/>
                <a:gd name="T5" fmla="*/ 187 h 406"/>
                <a:gd name="T6" fmla="*/ 236 w 278"/>
                <a:gd name="T7" fmla="*/ 261 h 406"/>
                <a:gd name="T8" fmla="*/ 101 w 278"/>
                <a:gd name="T9" fmla="*/ 339 h 406"/>
                <a:gd name="T10" fmla="*/ 62 w 278"/>
                <a:gd name="T11" fmla="*/ 406 h 406"/>
                <a:gd name="T12" fmla="*/ 62 w 278"/>
                <a:gd name="T13" fmla="*/ 361 h 406"/>
                <a:gd name="T14" fmla="*/ 43 w 278"/>
                <a:gd name="T15" fmla="*/ 372 h 406"/>
                <a:gd name="T16" fmla="*/ 0 w 278"/>
                <a:gd name="T17" fmla="*/ 348 h 406"/>
                <a:gd name="T18" fmla="*/ 0 w 278"/>
                <a:gd name="T19" fmla="*/ 198 h 406"/>
                <a:gd name="T20" fmla="*/ 42 w 278"/>
                <a:gd name="T21" fmla="*/ 125 h 406"/>
                <a:gd name="T22" fmla="*/ 235 w 278"/>
                <a:gd name="T23" fmla="*/ 13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8" h="406">
                  <a:moveTo>
                    <a:pt x="235" y="13"/>
                  </a:moveTo>
                  <a:cubicBezTo>
                    <a:pt x="259" y="0"/>
                    <a:pt x="278" y="11"/>
                    <a:pt x="278" y="38"/>
                  </a:cubicBezTo>
                  <a:cubicBezTo>
                    <a:pt x="278" y="187"/>
                    <a:pt x="278" y="187"/>
                    <a:pt x="278" y="187"/>
                  </a:cubicBezTo>
                  <a:cubicBezTo>
                    <a:pt x="278" y="214"/>
                    <a:pt x="259" y="247"/>
                    <a:pt x="236" y="261"/>
                  </a:cubicBezTo>
                  <a:cubicBezTo>
                    <a:pt x="101" y="339"/>
                    <a:pt x="101" y="339"/>
                    <a:pt x="101" y="339"/>
                  </a:cubicBezTo>
                  <a:cubicBezTo>
                    <a:pt x="62" y="406"/>
                    <a:pt x="62" y="406"/>
                    <a:pt x="62" y="406"/>
                  </a:cubicBezTo>
                  <a:cubicBezTo>
                    <a:pt x="62" y="361"/>
                    <a:pt x="62" y="361"/>
                    <a:pt x="62" y="361"/>
                  </a:cubicBezTo>
                  <a:cubicBezTo>
                    <a:pt x="43" y="372"/>
                    <a:pt x="43" y="372"/>
                    <a:pt x="43" y="372"/>
                  </a:cubicBezTo>
                  <a:cubicBezTo>
                    <a:pt x="20" y="386"/>
                    <a:pt x="0" y="375"/>
                    <a:pt x="0" y="34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171"/>
                    <a:pt x="19" y="138"/>
                    <a:pt x="42" y="125"/>
                  </a:cubicBezTo>
                  <a:lnTo>
                    <a:pt x="235" y="13"/>
                  </a:lnTo>
                  <a:close/>
                </a:path>
              </a:pathLst>
            </a:custGeom>
            <a:solidFill>
              <a:srgbClr val="B716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  <p:sp>
          <p:nvSpPr>
            <p:cNvPr id="228" name="Freeform 16">
              <a:extLst>
                <a:ext uri="{FF2B5EF4-FFF2-40B4-BE49-F238E27FC236}">
                  <a16:creationId xmlns:a16="http://schemas.microsoft.com/office/drawing/2014/main" id="{3406781B-49CE-47FB-A719-938B276101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33659" y="4337235"/>
              <a:ext cx="426261" cy="326728"/>
            </a:xfrm>
            <a:custGeom>
              <a:avLst/>
              <a:gdLst>
                <a:gd name="T0" fmla="*/ 166 w 166"/>
                <a:gd name="T1" fmla="*/ 15 h 127"/>
                <a:gd name="T2" fmla="*/ 149 w 166"/>
                <a:gd name="T3" fmla="*/ 45 h 127"/>
                <a:gd name="T4" fmla="*/ 132 w 166"/>
                <a:gd name="T5" fmla="*/ 35 h 127"/>
                <a:gd name="T6" fmla="*/ 149 w 166"/>
                <a:gd name="T7" fmla="*/ 6 h 127"/>
                <a:gd name="T8" fmla="*/ 166 w 166"/>
                <a:gd name="T9" fmla="*/ 15 h 127"/>
                <a:gd name="T10" fmla="*/ 83 w 166"/>
                <a:gd name="T11" fmla="*/ 44 h 127"/>
                <a:gd name="T12" fmla="*/ 66 w 166"/>
                <a:gd name="T13" fmla="*/ 73 h 127"/>
                <a:gd name="T14" fmla="*/ 83 w 166"/>
                <a:gd name="T15" fmla="*/ 83 h 127"/>
                <a:gd name="T16" fmla="*/ 100 w 166"/>
                <a:gd name="T17" fmla="*/ 54 h 127"/>
                <a:gd name="T18" fmla="*/ 83 w 166"/>
                <a:gd name="T19" fmla="*/ 44 h 127"/>
                <a:gd name="T20" fmla="*/ 17 w 166"/>
                <a:gd name="T21" fmla="*/ 82 h 127"/>
                <a:gd name="T22" fmla="*/ 0 w 166"/>
                <a:gd name="T23" fmla="*/ 111 h 127"/>
                <a:gd name="T24" fmla="*/ 17 w 166"/>
                <a:gd name="T25" fmla="*/ 121 h 127"/>
                <a:gd name="T26" fmla="*/ 34 w 166"/>
                <a:gd name="T27" fmla="*/ 92 h 127"/>
                <a:gd name="T28" fmla="*/ 17 w 166"/>
                <a:gd name="T29" fmla="*/ 82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6" h="127">
                  <a:moveTo>
                    <a:pt x="166" y="15"/>
                  </a:moveTo>
                  <a:cubicBezTo>
                    <a:pt x="166" y="26"/>
                    <a:pt x="159" y="39"/>
                    <a:pt x="149" y="45"/>
                  </a:cubicBezTo>
                  <a:cubicBezTo>
                    <a:pt x="140" y="50"/>
                    <a:pt x="132" y="46"/>
                    <a:pt x="132" y="35"/>
                  </a:cubicBezTo>
                  <a:cubicBezTo>
                    <a:pt x="132" y="24"/>
                    <a:pt x="140" y="11"/>
                    <a:pt x="149" y="6"/>
                  </a:cubicBezTo>
                  <a:cubicBezTo>
                    <a:pt x="159" y="0"/>
                    <a:pt x="166" y="5"/>
                    <a:pt x="166" y="15"/>
                  </a:cubicBezTo>
                  <a:close/>
                  <a:moveTo>
                    <a:pt x="83" y="44"/>
                  </a:moveTo>
                  <a:cubicBezTo>
                    <a:pt x="74" y="49"/>
                    <a:pt x="66" y="62"/>
                    <a:pt x="66" y="73"/>
                  </a:cubicBezTo>
                  <a:cubicBezTo>
                    <a:pt x="66" y="84"/>
                    <a:pt x="74" y="88"/>
                    <a:pt x="83" y="83"/>
                  </a:cubicBezTo>
                  <a:cubicBezTo>
                    <a:pt x="92" y="78"/>
                    <a:pt x="100" y="64"/>
                    <a:pt x="100" y="54"/>
                  </a:cubicBezTo>
                  <a:cubicBezTo>
                    <a:pt x="100" y="43"/>
                    <a:pt x="92" y="38"/>
                    <a:pt x="83" y="44"/>
                  </a:cubicBezTo>
                  <a:close/>
                  <a:moveTo>
                    <a:pt x="17" y="82"/>
                  </a:moveTo>
                  <a:cubicBezTo>
                    <a:pt x="7" y="88"/>
                    <a:pt x="0" y="101"/>
                    <a:pt x="0" y="111"/>
                  </a:cubicBezTo>
                  <a:cubicBezTo>
                    <a:pt x="0" y="122"/>
                    <a:pt x="7" y="127"/>
                    <a:pt x="17" y="121"/>
                  </a:cubicBezTo>
                  <a:cubicBezTo>
                    <a:pt x="26" y="116"/>
                    <a:pt x="34" y="103"/>
                    <a:pt x="34" y="92"/>
                  </a:cubicBezTo>
                  <a:cubicBezTo>
                    <a:pt x="34" y="81"/>
                    <a:pt x="26" y="77"/>
                    <a:pt x="17" y="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  <p:sp>
          <p:nvSpPr>
            <p:cNvPr id="229" name="Freeform 17">
              <a:extLst>
                <a:ext uri="{FF2B5EF4-FFF2-40B4-BE49-F238E27FC236}">
                  <a16:creationId xmlns:a16="http://schemas.microsoft.com/office/drawing/2014/main" id="{7CDFC625-191A-43DD-BBD6-969D4286A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76319" y="4933352"/>
              <a:ext cx="72486" cy="114679"/>
            </a:xfrm>
            <a:custGeom>
              <a:avLst/>
              <a:gdLst>
                <a:gd name="T0" fmla="*/ 9 w 28"/>
                <a:gd name="T1" fmla="*/ 11 h 45"/>
                <a:gd name="T2" fmla="*/ 0 w 28"/>
                <a:gd name="T3" fmla="*/ 15 h 45"/>
                <a:gd name="T4" fmla="*/ 0 w 28"/>
                <a:gd name="T5" fmla="*/ 28 h 45"/>
                <a:gd name="T6" fmla="*/ 28 w 28"/>
                <a:gd name="T7" fmla="*/ 45 h 45"/>
                <a:gd name="T8" fmla="*/ 28 w 28"/>
                <a:gd name="T9" fmla="*/ 0 h 45"/>
                <a:gd name="T10" fmla="*/ 9 w 28"/>
                <a:gd name="T11" fmla="*/ 1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45">
                  <a:moveTo>
                    <a:pt x="9" y="11"/>
                  </a:moveTo>
                  <a:cubicBezTo>
                    <a:pt x="6" y="13"/>
                    <a:pt x="3" y="14"/>
                    <a:pt x="0" y="15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7E0F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  <p:sp>
          <p:nvSpPr>
            <p:cNvPr id="230" name="Freeform 18">
              <a:extLst>
                <a:ext uri="{FF2B5EF4-FFF2-40B4-BE49-F238E27FC236}">
                  <a16:creationId xmlns:a16="http://schemas.microsoft.com/office/drawing/2014/main" id="{22463182-386F-41A3-B7A5-EE70CC916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7282" y="3981296"/>
              <a:ext cx="752989" cy="987758"/>
            </a:xfrm>
            <a:custGeom>
              <a:avLst/>
              <a:gdLst>
                <a:gd name="T0" fmla="*/ 265 w 293"/>
                <a:gd name="T1" fmla="*/ 4 h 385"/>
                <a:gd name="T2" fmla="*/ 235 w 293"/>
                <a:gd name="T3" fmla="*/ 7 h 385"/>
                <a:gd name="T4" fmla="*/ 42 w 293"/>
                <a:gd name="T5" fmla="*/ 118 h 385"/>
                <a:gd name="T6" fmla="*/ 0 w 293"/>
                <a:gd name="T7" fmla="*/ 192 h 385"/>
                <a:gd name="T8" fmla="*/ 0 w 293"/>
                <a:gd name="T9" fmla="*/ 341 h 385"/>
                <a:gd name="T10" fmla="*/ 12 w 293"/>
                <a:gd name="T11" fmla="*/ 369 h 385"/>
                <a:gd name="T12" fmla="*/ 41 w 293"/>
                <a:gd name="T13" fmla="*/ 385 h 385"/>
                <a:gd name="T14" fmla="*/ 28 w 293"/>
                <a:gd name="T15" fmla="*/ 358 h 385"/>
                <a:gd name="T16" fmla="*/ 28 w 293"/>
                <a:gd name="T17" fmla="*/ 208 h 385"/>
                <a:gd name="T18" fmla="*/ 70 w 293"/>
                <a:gd name="T19" fmla="*/ 135 h 385"/>
                <a:gd name="T20" fmla="*/ 263 w 293"/>
                <a:gd name="T21" fmla="*/ 23 h 385"/>
                <a:gd name="T22" fmla="*/ 293 w 293"/>
                <a:gd name="T23" fmla="*/ 21 h 385"/>
                <a:gd name="T24" fmla="*/ 265 w 293"/>
                <a:gd name="T25" fmla="*/ 4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3" h="385">
                  <a:moveTo>
                    <a:pt x="265" y="4"/>
                  </a:moveTo>
                  <a:cubicBezTo>
                    <a:pt x="257" y="0"/>
                    <a:pt x="247" y="0"/>
                    <a:pt x="235" y="7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19" y="132"/>
                    <a:pt x="0" y="165"/>
                    <a:pt x="0" y="192"/>
                  </a:cubicBezTo>
                  <a:cubicBezTo>
                    <a:pt x="0" y="341"/>
                    <a:pt x="0" y="341"/>
                    <a:pt x="0" y="341"/>
                  </a:cubicBezTo>
                  <a:cubicBezTo>
                    <a:pt x="0" y="355"/>
                    <a:pt x="5" y="364"/>
                    <a:pt x="12" y="369"/>
                  </a:cubicBezTo>
                  <a:cubicBezTo>
                    <a:pt x="41" y="385"/>
                    <a:pt x="41" y="385"/>
                    <a:pt x="41" y="385"/>
                  </a:cubicBezTo>
                  <a:cubicBezTo>
                    <a:pt x="33" y="380"/>
                    <a:pt x="28" y="371"/>
                    <a:pt x="28" y="358"/>
                  </a:cubicBezTo>
                  <a:cubicBezTo>
                    <a:pt x="28" y="208"/>
                    <a:pt x="28" y="208"/>
                    <a:pt x="28" y="208"/>
                  </a:cubicBezTo>
                  <a:cubicBezTo>
                    <a:pt x="28" y="181"/>
                    <a:pt x="47" y="148"/>
                    <a:pt x="70" y="135"/>
                  </a:cubicBezTo>
                  <a:cubicBezTo>
                    <a:pt x="263" y="23"/>
                    <a:pt x="263" y="23"/>
                    <a:pt x="263" y="23"/>
                  </a:cubicBezTo>
                  <a:cubicBezTo>
                    <a:pt x="275" y="17"/>
                    <a:pt x="286" y="16"/>
                    <a:pt x="293" y="21"/>
                  </a:cubicBezTo>
                  <a:lnTo>
                    <a:pt x="265" y="4"/>
                  </a:lnTo>
                  <a:close/>
                </a:path>
              </a:pathLst>
            </a:custGeom>
            <a:solidFill>
              <a:srgbClr val="CB18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982"/>
            </a:p>
          </p:txBody>
        </p:sp>
      </p:grpSp>
      <p:grpSp>
        <p:nvGrpSpPr>
          <p:cNvPr id="254" name="Group 4">
            <a:extLst>
              <a:ext uri="{FF2B5EF4-FFF2-40B4-BE49-F238E27FC236}">
                <a16:creationId xmlns:a16="http://schemas.microsoft.com/office/drawing/2014/main" id="{42404673-54CA-463C-99B6-C31BDDE9A927}"/>
              </a:ext>
            </a:extLst>
          </p:cNvPr>
          <p:cNvGrpSpPr/>
          <p:nvPr/>
        </p:nvGrpSpPr>
        <p:grpSpPr>
          <a:xfrm>
            <a:off x="9826335" y="1384288"/>
            <a:ext cx="845902" cy="646934"/>
            <a:chOff x="2356411" y="-135591"/>
            <a:chExt cx="7272337" cy="5332414"/>
          </a:xfrm>
        </p:grpSpPr>
        <p:sp>
          <p:nvSpPr>
            <p:cNvPr id="255" name="Freeform 36">
              <a:extLst>
                <a:ext uri="{FF2B5EF4-FFF2-40B4-BE49-F238E27FC236}">
                  <a16:creationId xmlns:a16="http://schemas.microsoft.com/office/drawing/2014/main" id="{5D77070F-8BD8-4710-9836-C40DF44BE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6061" y="4660247"/>
              <a:ext cx="309562" cy="317500"/>
            </a:xfrm>
            <a:custGeom>
              <a:avLst/>
              <a:gdLst>
                <a:gd name="T0" fmla="*/ 97 w 124"/>
                <a:gd name="T1" fmla="*/ 9 h 127"/>
                <a:gd name="T2" fmla="*/ 123 w 124"/>
                <a:gd name="T3" fmla="*/ 106 h 127"/>
                <a:gd name="T4" fmla="*/ 29 w 124"/>
                <a:gd name="T5" fmla="*/ 122 h 127"/>
                <a:gd name="T6" fmla="*/ 8 w 124"/>
                <a:gd name="T7" fmla="*/ 20 h 127"/>
                <a:gd name="T8" fmla="*/ 97 w 124"/>
                <a:gd name="T9" fmla="*/ 9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27">
                  <a:moveTo>
                    <a:pt x="97" y="9"/>
                  </a:moveTo>
                  <a:cubicBezTo>
                    <a:pt x="97" y="9"/>
                    <a:pt x="122" y="87"/>
                    <a:pt x="123" y="106"/>
                  </a:cubicBezTo>
                  <a:cubicBezTo>
                    <a:pt x="124" y="126"/>
                    <a:pt x="37" y="127"/>
                    <a:pt x="29" y="122"/>
                  </a:cubicBezTo>
                  <a:cubicBezTo>
                    <a:pt x="20" y="116"/>
                    <a:pt x="0" y="23"/>
                    <a:pt x="8" y="20"/>
                  </a:cubicBezTo>
                  <a:cubicBezTo>
                    <a:pt x="16" y="17"/>
                    <a:pt x="94" y="0"/>
                    <a:pt x="97" y="9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56" name="Freeform 37">
              <a:extLst>
                <a:ext uri="{FF2B5EF4-FFF2-40B4-BE49-F238E27FC236}">
                  <a16:creationId xmlns:a16="http://schemas.microsoft.com/office/drawing/2014/main" id="{99A1BC7A-C537-4798-AC9E-C43F61013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7948" y="2879072"/>
              <a:ext cx="417512" cy="1898650"/>
            </a:xfrm>
            <a:custGeom>
              <a:avLst/>
              <a:gdLst>
                <a:gd name="T0" fmla="*/ 71 w 167"/>
                <a:gd name="T1" fmla="*/ 732 h 762"/>
                <a:gd name="T2" fmla="*/ 127 w 167"/>
                <a:gd name="T3" fmla="*/ 753 h 762"/>
                <a:gd name="T4" fmla="*/ 167 w 167"/>
                <a:gd name="T5" fmla="*/ 732 h 762"/>
                <a:gd name="T6" fmla="*/ 119 w 167"/>
                <a:gd name="T7" fmla="*/ 389 h 762"/>
                <a:gd name="T8" fmla="*/ 128 w 167"/>
                <a:gd name="T9" fmla="*/ 39 h 762"/>
                <a:gd name="T10" fmla="*/ 0 w 167"/>
                <a:gd name="T11" fmla="*/ 117 h 762"/>
                <a:gd name="T12" fmla="*/ 71 w 167"/>
                <a:gd name="T13" fmla="*/ 732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762">
                  <a:moveTo>
                    <a:pt x="71" y="732"/>
                  </a:moveTo>
                  <a:cubicBezTo>
                    <a:pt x="71" y="732"/>
                    <a:pt x="102" y="762"/>
                    <a:pt x="127" y="753"/>
                  </a:cubicBezTo>
                  <a:cubicBezTo>
                    <a:pt x="152" y="745"/>
                    <a:pt x="167" y="732"/>
                    <a:pt x="167" y="732"/>
                  </a:cubicBezTo>
                  <a:cubicBezTo>
                    <a:pt x="167" y="732"/>
                    <a:pt x="127" y="493"/>
                    <a:pt x="119" y="389"/>
                  </a:cubicBezTo>
                  <a:cubicBezTo>
                    <a:pt x="111" y="285"/>
                    <a:pt x="135" y="78"/>
                    <a:pt x="128" y="39"/>
                  </a:cubicBezTo>
                  <a:cubicBezTo>
                    <a:pt x="121" y="0"/>
                    <a:pt x="0" y="117"/>
                    <a:pt x="0" y="117"/>
                  </a:cubicBezTo>
                  <a:cubicBezTo>
                    <a:pt x="0" y="117"/>
                    <a:pt x="42" y="652"/>
                    <a:pt x="71" y="732"/>
                  </a:cubicBezTo>
                </a:path>
              </a:pathLst>
            </a:custGeom>
            <a:solidFill>
              <a:srgbClr val="006C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57" name="Freeform 38">
              <a:extLst>
                <a:ext uri="{FF2B5EF4-FFF2-40B4-BE49-F238E27FC236}">
                  <a16:creationId xmlns:a16="http://schemas.microsoft.com/office/drawing/2014/main" id="{EB777DE8-E5E4-4915-8379-793D11BEC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2673" y="4682472"/>
              <a:ext cx="542925" cy="349250"/>
            </a:xfrm>
            <a:custGeom>
              <a:avLst/>
              <a:gdLst>
                <a:gd name="T0" fmla="*/ 126 w 218"/>
                <a:gd name="T1" fmla="*/ 18 h 140"/>
                <a:gd name="T2" fmla="*/ 83 w 218"/>
                <a:gd name="T3" fmla="*/ 78 h 140"/>
                <a:gd name="T4" fmla="*/ 12 w 218"/>
                <a:gd name="T5" fmla="*/ 78 h 140"/>
                <a:gd name="T6" fmla="*/ 3 w 218"/>
                <a:gd name="T7" fmla="*/ 122 h 140"/>
                <a:gd name="T8" fmla="*/ 119 w 218"/>
                <a:gd name="T9" fmla="*/ 139 h 140"/>
                <a:gd name="T10" fmla="*/ 215 w 218"/>
                <a:gd name="T11" fmla="*/ 125 h 140"/>
                <a:gd name="T12" fmla="*/ 196 w 218"/>
                <a:gd name="T13" fmla="*/ 18 h 140"/>
                <a:gd name="T14" fmla="*/ 126 w 218"/>
                <a:gd name="T15" fmla="*/ 1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8" h="140">
                  <a:moveTo>
                    <a:pt x="126" y="18"/>
                  </a:moveTo>
                  <a:cubicBezTo>
                    <a:pt x="126" y="18"/>
                    <a:pt x="91" y="74"/>
                    <a:pt x="83" y="78"/>
                  </a:cubicBezTo>
                  <a:cubicBezTo>
                    <a:pt x="75" y="82"/>
                    <a:pt x="18" y="74"/>
                    <a:pt x="12" y="78"/>
                  </a:cubicBezTo>
                  <a:cubicBezTo>
                    <a:pt x="7" y="82"/>
                    <a:pt x="0" y="117"/>
                    <a:pt x="3" y="122"/>
                  </a:cubicBezTo>
                  <a:cubicBezTo>
                    <a:pt x="5" y="128"/>
                    <a:pt x="94" y="138"/>
                    <a:pt x="119" y="139"/>
                  </a:cubicBezTo>
                  <a:cubicBezTo>
                    <a:pt x="144" y="140"/>
                    <a:pt x="200" y="135"/>
                    <a:pt x="215" y="125"/>
                  </a:cubicBezTo>
                  <a:cubicBezTo>
                    <a:pt x="218" y="118"/>
                    <a:pt x="201" y="28"/>
                    <a:pt x="196" y="18"/>
                  </a:cubicBezTo>
                  <a:cubicBezTo>
                    <a:pt x="190" y="8"/>
                    <a:pt x="130" y="0"/>
                    <a:pt x="126" y="18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58" name="Freeform 39">
              <a:extLst>
                <a:ext uri="{FF2B5EF4-FFF2-40B4-BE49-F238E27FC236}">
                  <a16:creationId xmlns:a16="http://schemas.microsoft.com/office/drawing/2014/main" id="{802DA078-83C6-4062-A64F-180B7D1C39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1248" y="2871134"/>
              <a:ext cx="623887" cy="1941513"/>
            </a:xfrm>
            <a:custGeom>
              <a:avLst/>
              <a:gdLst>
                <a:gd name="T0" fmla="*/ 0 w 250"/>
                <a:gd name="T1" fmla="*/ 5 h 779"/>
                <a:gd name="T2" fmla="*/ 22 w 250"/>
                <a:gd name="T3" fmla="*/ 426 h 779"/>
                <a:gd name="T4" fmla="*/ 88 w 250"/>
                <a:gd name="T5" fmla="*/ 691 h 779"/>
                <a:gd name="T6" fmla="*/ 88 w 250"/>
                <a:gd name="T7" fmla="*/ 716 h 779"/>
                <a:gd name="T8" fmla="*/ 110 w 250"/>
                <a:gd name="T9" fmla="*/ 763 h 779"/>
                <a:gd name="T10" fmla="*/ 196 w 250"/>
                <a:gd name="T11" fmla="*/ 753 h 779"/>
                <a:gd name="T12" fmla="*/ 167 w 250"/>
                <a:gd name="T13" fmla="*/ 594 h 779"/>
                <a:gd name="T14" fmla="*/ 132 w 250"/>
                <a:gd name="T15" fmla="*/ 130 h 779"/>
                <a:gd name="T16" fmla="*/ 229 w 250"/>
                <a:gd name="T17" fmla="*/ 63 h 779"/>
                <a:gd name="T18" fmla="*/ 248 w 250"/>
                <a:gd name="T19" fmla="*/ 5 h 779"/>
                <a:gd name="T20" fmla="*/ 0 w 250"/>
                <a:gd name="T21" fmla="*/ 5 h 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779">
                  <a:moveTo>
                    <a:pt x="0" y="5"/>
                  </a:moveTo>
                  <a:cubicBezTo>
                    <a:pt x="0" y="5"/>
                    <a:pt x="6" y="355"/>
                    <a:pt x="22" y="426"/>
                  </a:cubicBezTo>
                  <a:cubicBezTo>
                    <a:pt x="39" y="496"/>
                    <a:pt x="84" y="676"/>
                    <a:pt x="88" y="691"/>
                  </a:cubicBezTo>
                  <a:cubicBezTo>
                    <a:pt x="88" y="691"/>
                    <a:pt x="87" y="708"/>
                    <a:pt x="88" y="716"/>
                  </a:cubicBezTo>
                  <a:cubicBezTo>
                    <a:pt x="89" y="724"/>
                    <a:pt x="102" y="756"/>
                    <a:pt x="110" y="763"/>
                  </a:cubicBezTo>
                  <a:cubicBezTo>
                    <a:pt x="118" y="770"/>
                    <a:pt x="181" y="779"/>
                    <a:pt x="196" y="753"/>
                  </a:cubicBezTo>
                  <a:cubicBezTo>
                    <a:pt x="196" y="753"/>
                    <a:pt x="175" y="640"/>
                    <a:pt x="167" y="594"/>
                  </a:cubicBezTo>
                  <a:cubicBezTo>
                    <a:pt x="159" y="548"/>
                    <a:pt x="121" y="231"/>
                    <a:pt x="132" y="130"/>
                  </a:cubicBezTo>
                  <a:cubicBezTo>
                    <a:pt x="132" y="130"/>
                    <a:pt x="209" y="80"/>
                    <a:pt x="229" y="63"/>
                  </a:cubicBezTo>
                  <a:cubicBezTo>
                    <a:pt x="250" y="46"/>
                    <a:pt x="248" y="9"/>
                    <a:pt x="248" y="5"/>
                  </a:cubicBezTo>
                  <a:cubicBezTo>
                    <a:pt x="248" y="0"/>
                    <a:pt x="0" y="5"/>
                    <a:pt x="0" y="5"/>
                  </a:cubicBezTo>
                </a:path>
              </a:pathLst>
            </a:custGeom>
            <a:solidFill>
              <a:srgbClr val="006C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59" name="Freeform 40">
              <a:extLst>
                <a:ext uri="{FF2B5EF4-FFF2-40B4-BE49-F238E27FC236}">
                  <a16:creationId xmlns:a16="http://schemas.microsoft.com/office/drawing/2014/main" id="{61143A6D-3C19-4D48-A375-7C74073DD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0398" y="86659"/>
              <a:ext cx="558800" cy="284163"/>
            </a:xfrm>
            <a:custGeom>
              <a:avLst/>
              <a:gdLst>
                <a:gd name="T0" fmla="*/ 7 w 224"/>
                <a:gd name="T1" fmla="*/ 114 h 114"/>
                <a:gd name="T2" fmla="*/ 0 w 224"/>
                <a:gd name="T3" fmla="*/ 96 h 114"/>
                <a:gd name="T4" fmla="*/ 35 w 224"/>
                <a:gd name="T5" fmla="*/ 5 h 114"/>
                <a:gd name="T6" fmla="*/ 136 w 224"/>
                <a:gd name="T7" fmla="*/ 18 h 114"/>
                <a:gd name="T8" fmla="*/ 220 w 224"/>
                <a:gd name="T9" fmla="*/ 52 h 114"/>
                <a:gd name="T10" fmla="*/ 7 w 224"/>
                <a:gd name="T1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4" h="114">
                  <a:moveTo>
                    <a:pt x="7" y="114"/>
                  </a:moveTo>
                  <a:cubicBezTo>
                    <a:pt x="7" y="114"/>
                    <a:pt x="0" y="103"/>
                    <a:pt x="0" y="96"/>
                  </a:cubicBezTo>
                  <a:cubicBezTo>
                    <a:pt x="0" y="90"/>
                    <a:pt x="24" y="9"/>
                    <a:pt x="35" y="5"/>
                  </a:cubicBezTo>
                  <a:cubicBezTo>
                    <a:pt x="46" y="0"/>
                    <a:pt x="120" y="14"/>
                    <a:pt x="136" y="18"/>
                  </a:cubicBezTo>
                  <a:cubicBezTo>
                    <a:pt x="152" y="23"/>
                    <a:pt x="217" y="38"/>
                    <a:pt x="220" y="52"/>
                  </a:cubicBezTo>
                  <a:cubicBezTo>
                    <a:pt x="224" y="66"/>
                    <a:pt x="7" y="114"/>
                    <a:pt x="7" y="114"/>
                  </a:cubicBezTo>
                </a:path>
              </a:pathLst>
            </a:custGeom>
            <a:solidFill>
              <a:srgbClr val="5C82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60" name="Freeform 41">
              <a:extLst>
                <a:ext uri="{FF2B5EF4-FFF2-40B4-BE49-F238E27FC236}">
                  <a16:creationId xmlns:a16="http://schemas.microsoft.com/office/drawing/2014/main" id="{C0CA2574-9D9E-425B-86C1-055206757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2186" y="77134"/>
              <a:ext cx="214312" cy="112713"/>
            </a:xfrm>
            <a:custGeom>
              <a:avLst/>
              <a:gdLst>
                <a:gd name="T0" fmla="*/ 86 w 86"/>
                <a:gd name="T1" fmla="*/ 45 h 45"/>
                <a:gd name="T2" fmla="*/ 63 w 86"/>
                <a:gd name="T3" fmla="*/ 3 h 45"/>
                <a:gd name="T4" fmla="*/ 0 w 86"/>
                <a:gd name="T5" fmla="*/ 21 h 45"/>
                <a:gd name="T6" fmla="*/ 86 w 86"/>
                <a:gd name="T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" h="45">
                  <a:moveTo>
                    <a:pt x="86" y="45"/>
                  </a:moveTo>
                  <a:cubicBezTo>
                    <a:pt x="86" y="45"/>
                    <a:pt x="75" y="7"/>
                    <a:pt x="63" y="3"/>
                  </a:cubicBezTo>
                  <a:cubicBezTo>
                    <a:pt x="50" y="0"/>
                    <a:pt x="0" y="21"/>
                    <a:pt x="0" y="21"/>
                  </a:cubicBezTo>
                  <a:cubicBezTo>
                    <a:pt x="0" y="21"/>
                    <a:pt x="75" y="40"/>
                    <a:pt x="86" y="45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61" name="Freeform 42">
              <a:extLst>
                <a:ext uri="{FF2B5EF4-FFF2-40B4-BE49-F238E27FC236}">
                  <a16:creationId xmlns:a16="http://schemas.microsoft.com/office/drawing/2014/main" id="{5D68F680-3FEC-46FF-8363-383488986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5511" y="85072"/>
              <a:ext cx="703262" cy="669925"/>
            </a:xfrm>
            <a:custGeom>
              <a:avLst/>
              <a:gdLst>
                <a:gd name="T0" fmla="*/ 122 w 282"/>
                <a:gd name="T1" fmla="*/ 160 h 269"/>
                <a:gd name="T2" fmla="*/ 73 w 282"/>
                <a:gd name="T3" fmla="*/ 175 h 269"/>
                <a:gd name="T4" fmla="*/ 31 w 282"/>
                <a:gd name="T5" fmla="*/ 161 h 269"/>
                <a:gd name="T6" fmla="*/ 37 w 282"/>
                <a:gd name="T7" fmla="*/ 143 h 269"/>
                <a:gd name="T8" fmla="*/ 81 w 282"/>
                <a:gd name="T9" fmla="*/ 147 h 269"/>
                <a:gd name="T10" fmla="*/ 111 w 282"/>
                <a:gd name="T11" fmla="*/ 57 h 269"/>
                <a:gd name="T12" fmla="*/ 13 w 282"/>
                <a:gd name="T13" fmla="*/ 21 h 269"/>
                <a:gd name="T14" fmla="*/ 14 w 282"/>
                <a:gd name="T15" fmla="*/ 0 h 269"/>
                <a:gd name="T16" fmla="*/ 72 w 282"/>
                <a:gd name="T17" fmla="*/ 15 h 269"/>
                <a:gd name="T18" fmla="*/ 127 w 282"/>
                <a:gd name="T19" fmla="*/ 31 h 269"/>
                <a:gd name="T20" fmla="*/ 149 w 282"/>
                <a:gd name="T21" fmla="*/ 115 h 269"/>
                <a:gd name="T22" fmla="*/ 269 w 282"/>
                <a:gd name="T23" fmla="*/ 226 h 269"/>
                <a:gd name="T24" fmla="*/ 236 w 282"/>
                <a:gd name="T25" fmla="*/ 269 h 269"/>
                <a:gd name="T26" fmla="*/ 122 w 282"/>
                <a:gd name="T27" fmla="*/ 16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2" h="269">
                  <a:moveTo>
                    <a:pt x="122" y="160"/>
                  </a:moveTo>
                  <a:cubicBezTo>
                    <a:pt x="122" y="160"/>
                    <a:pt x="91" y="175"/>
                    <a:pt x="73" y="175"/>
                  </a:cubicBezTo>
                  <a:cubicBezTo>
                    <a:pt x="55" y="175"/>
                    <a:pt x="43" y="161"/>
                    <a:pt x="31" y="161"/>
                  </a:cubicBezTo>
                  <a:cubicBezTo>
                    <a:pt x="18" y="161"/>
                    <a:pt x="24" y="140"/>
                    <a:pt x="37" y="143"/>
                  </a:cubicBezTo>
                  <a:cubicBezTo>
                    <a:pt x="49" y="145"/>
                    <a:pt x="72" y="151"/>
                    <a:pt x="81" y="147"/>
                  </a:cubicBezTo>
                  <a:cubicBezTo>
                    <a:pt x="89" y="143"/>
                    <a:pt x="113" y="71"/>
                    <a:pt x="111" y="57"/>
                  </a:cubicBezTo>
                  <a:cubicBezTo>
                    <a:pt x="110" y="43"/>
                    <a:pt x="25" y="29"/>
                    <a:pt x="13" y="21"/>
                  </a:cubicBezTo>
                  <a:cubicBezTo>
                    <a:pt x="0" y="13"/>
                    <a:pt x="14" y="0"/>
                    <a:pt x="14" y="0"/>
                  </a:cubicBezTo>
                  <a:cubicBezTo>
                    <a:pt x="14" y="0"/>
                    <a:pt x="60" y="14"/>
                    <a:pt x="72" y="15"/>
                  </a:cubicBezTo>
                  <a:cubicBezTo>
                    <a:pt x="85" y="17"/>
                    <a:pt x="116" y="17"/>
                    <a:pt x="127" y="31"/>
                  </a:cubicBezTo>
                  <a:cubicBezTo>
                    <a:pt x="138" y="44"/>
                    <a:pt x="149" y="115"/>
                    <a:pt x="149" y="115"/>
                  </a:cubicBezTo>
                  <a:cubicBezTo>
                    <a:pt x="149" y="115"/>
                    <a:pt x="257" y="203"/>
                    <a:pt x="269" y="226"/>
                  </a:cubicBezTo>
                  <a:cubicBezTo>
                    <a:pt x="282" y="250"/>
                    <a:pt x="236" y="269"/>
                    <a:pt x="236" y="269"/>
                  </a:cubicBezTo>
                  <a:cubicBezTo>
                    <a:pt x="236" y="269"/>
                    <a:pt x="132" y="153"/>
                    <a:pt x="122" y="160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62" name="Freeform 43">
              <a:extLst>
                <a:ext uri="{FF2B5EF4-FFF2-40B4-BE49-F238E27FC236}">
                  <a16:creationId xmlns:a16="http://schemas.microsoft.com/office/drawing/2014/main" id="{CB4AC096-B02B-4373-8618-C34DE2060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3573" y="107297"/>
              <a:ext cx="550862" cy="349250"/>
            </a:xfrm>
            <a:custGeom>
              <a:avLst/>
              <a:gdLst>
                <a:gd name="T0" fmla="*/ 126 w 221"/>
                <a:gd name="T1" fmla="*/ 16 h 140"/>
                <a:gd name="T2" fmla="*/ 38 w 221"/>
                <a:gd name="T3" fmla="*/ 8 h 140"/>
                <a:gd name="T4" fmla="*/ 6 w 221"/>
                <a:gd name="T5" fmla="*/ 106 h 140"/>
                <a:gd name="T6" fmla="*/ 181 w 221"/>
                <a:gd name="T7" fmla="*/ 139 h 140"/>
                <a:gd name="T8" fmla="*/ 219 w 221"/>
                <a:gd name="T9" fmla="*/ 44 h 140"/>
                <a:gd name="T10" fmla="*/ 126 w 221"/>
                <a:gd name="T11" fmla="*/ 1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1" h="140">
                  <a:moveTo>
                    <a:pt x="126" y="16"/>
                  </a:moveTo>
                  <a:cubicBezTo>
                    <a:pt x="61" y="0"/>
                    <a:pt x="42" y="0"/>
                    <a:pt x="38" y="8"/>
                  </a:cubicBezTo>
                  <a:cubicBezTo>
                    <a:pt x="34" y="15"/>
                    <a:pt x="0" y="101"/>
                    <a:pt x="6" y="106"/>
                  </a:cubicBezTo>
                  <a:cubicBezTo>
                    <a:pt x="11" y="112"/>
                    <a:pt x="161" y="138"/>
                    <a:pt x="181" y="139"/>
                  </a:cubicBezTo>
                  <a:cubicBezTo>
                    <a:pt x="201" y="140"/>
                    <a:pt x="221" y="52"/>
                    <a:pt x="219" y="44"/>
                  </a:cubicBezTo>
                  <a:cubicBezTo>
                    <a:pt x="218" y="35"/>
                    <a:pt x="139" y="18"/>
                    <a:pt x="126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63" name="Freeform 44">
              <a:extLst>
                <a:ext uri="{FF2B5EF4-FFF2-40B4-BE49-F238E27FC236}">
                  <a16:creationId xmlns:a16="http://schemas.microsoft.com/office/drawing/2014/main" id="{DB017F87-5604-4C11-AC8D-000715253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5486" y="146984"/>
              <a:ext cx="376237" cy="250825"/>
            </a:xfrm>
            <a:custGeom>
              <a:avLst/>
              <a:gdLst>
                <a:gd name="T0" fmla="*/ 98 w 151"/>
                <a:gd name="T1" fmla="*/ 12 h 101"/>
                <a:gd name="T2" fmla="*/ 30 w 151"/>
                <a:gd name="T3" fmla="*/ 6 h 101"/>
                <a:gd name="T4" fmla="*/ 5 w 151"/>
                <a:gd name="T5" fmla="*/ 82 h 101"/>
                <a:gd name="T6" fmla="*/ 120 w 151"/>
                <a:gd name="T7" fmla="*/ 101 h 101"/>
                <a:gd name="T8" fmla="*/ 150 w 151"/>
                <a:gd name="T9" fmla="*/ 27 h 101"/>
                <a:gd name="T10" fmla="*/ 98 w 151"/>
                <a:gd name="T11" fmla="*/ 1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1">
                  <a:moveTo>
                    <a:pt x="98" y="12"/>
                  </a:moveTo>
                  <a:cubicBezTo>
                    <a:pt x="47" y="0"/>
                    <a:pt x="33" y="0"/>
                    <a:pt x="30" y="6"/>
                  </a:cubicBezTo>
                  <a:cubicBezTo>
                    <a:pt x="26" y="12"/>
                    <a:pt x="0" y="78"/>
                    <a:pt x="5" y="82"/>
                  </a:cubicBezTo>
                  <a:cubicBezTo>
                    <a:pt x="9" y="87"/>
                    <a:pt x="105" y="100"/>
                    <a:pt x="120" y="101"/>
                  </a:cubicBezTo>
                  <a:cubicBezTo>
                    <a:pt x="136" y="101"/>
                    <a:pt x="151" y="33"/>
                    <a:pt x="150" y="27"/>
                  </a:cubicBezTo>
                  <a:cubicBezTo>
                    <a:pt x="149" y="20"/>
                    <a:pt x="108" y="14"/>
                    <a:pt x="98" y="12"/>
                  </a:cubicBezTo>
                </a:path>
              </a:pathLst>
            </a:custGeom>
            <a:solidFill>
              <a:srgbClr val="5C82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64" name="Oval 45">
              <a:extLst>
                <a:ext uri="{FF2B5EF4-FFF2-40B4-BE49-F238E27FC236}">
                  <a16:creationId xmlns:a16="http://schemas.microsoft.com/office/drawing/2014/main" id="{27B14427-41AE-44E3-959D-625086BCE0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6486" y="293034"/>
              <a:ext cx="52387" cy="52388"/>
            </a:xfrm>
            <a:prstGeom prst="ellipse">
              <a:avLst/>
            </a:prstGeom>
            <a:solidFill>
              <a:srgbClr val="BEBE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65" name="Freeform 46">
              <a:extLst>
                <a:ext uri="{FF2B5EF4-FFF2-40B4-BE49-F238E27FC236}">
                  <a16:creationId xmlns:a16="http://schemas.microsoft.com/office/drawing/2014/main" id="{C65230F1-6F02-4BA0-8A10-DFE00ABAE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723" y="-135591"/>
              <a:ext cx="31750" cy="122238"/>
            </a:xfrm>
            <a:custGeom>
              <a:avLst/>
              <a:gdLst>
                <a:gd name="T0" fmla="*/ 10 w 13"/>
                <a:gd name="T1" fmla="*/ 5 h 49"/>
                <a:gd name="T2" fmla="*/ 1 w 13"/>
                <a:gd name="T3" fmla="*/ 7 h 49"/>
                <a:gd name="T4" fmla="*/ 1 w 13"/>
                <a:gd name="T5" fmla="*/ 43 h 49"/>
                <a:gd name="T6" fmla="*/ 10 w 13"/>
                <a:gd name="T7" fmla="*/ 44 h 49"/>
                <a:gd name="T8" fmla="*/ 10 w 13"/>
                <a:gd name="T9" fmla="*/ 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9">
                  <a:moveTo>
                    <a:pt x="10" y="5"/>
                  </a:moveTo>
                  <a:cubicBezTo>
                    <a:pt x="8" y="0"/>
                    <a:pt x="0" y="2"/>
                    <a:pt x="1" y="7"/>
                  </a:cubicBezTo>
                  <a:cubicBezTo>
                    <a:pt x="2" y="19"/>
                    <a:pt x="0" y="31"/>
                    <a:pt x="1" y="43"/>
                  </a:cubicBezTo>
                  <a:cubicBezTo>
                    <a:pt x="1" y="49"/>
                    <a:pt x="9" y="49"/>
                    <a:pt x="10" y="44"/>
                  </a:cubicBezTo>
                  <a:cubicBezTo>
                    <a:pt x="12" y="31"/>
                    <a:pt x="13" y="18"/>
                    <a:pt x="10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66" name="Freeform 47">
              <a:extLst>
                <a:ext uri="{FF2B5EF4-FFF2-40B4-BE49-F238E27FC236}">
                  <a16:creationId xmlns:a16="http://schemas.microsoft.com/office/drawing/2014/main" id="{103D4777-3EE1-466B-8C57-9682488BB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0086" y="-94316"/>
              <a:ext cx="52387" cy="101600"/>
            </a:xfrm>
            <a:custGeom>
              <a:avLst/>
              <a:gdLst>
                <a:gd name="T0" fmla="*/ 19 w 21"/>
                <a:gd name="T1" fmla="*/ 32 h 41"/>
                <a:gd name="T2" fmla="*/ 9 w 21"/>
                <a:gd name="T3" fmla="*/ 4 h 41"/>
                <a:gd name="T4" fmla="*/ 2 w 21"/>
                <a:gd name="T5" fmla="*/ 8 h 41"/>
                <a:gd name="T6" fmla="*/ 11 w 21"/>
                <a:gd name="T7" fmla="*/ 36 h 41"/>
                <a:gd name="T8" fmla="*/ 19 w 21"/>
                <a:gd name="T9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41">
                  <a:moveTo>
                    <a:pt x="19" y="32"/>
                  </a:moveTo>
                  <a:cubicBezTo>
                    <a:pt x="16" y="23"/>
                    <a:pt x="14" y="13"/>
                    <a:pt x="9" y="4"/>
                  </a:cubicBezTo>
                  <a:cubicBezTo>
                    <a:pt x="7" y="0"/>
                    <a:pt x="0" y="4"/>
                    <a:pt x="2" y="8"/>
                  </a:cubicBezTo>
                  <a:cubicBezTo>
                    <a:pt x="5" y="18"/>
                    <a:pt x="7" y="27"/>
                    <a:pt x="11" y="36"/>
                  </a:cubicBezTo>
                  <a:cubicBezTo>
                    <a:pt x="14" y="41"/>
                    <a:pt x="21" y="37"/>
                    <a:pt x="19" y="3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67" name="Freeform 48">
              <a:extLst>
                <a:ext uri="{FF2B5EF4-FFF2-40B4-BE49-F238E27FC236}">
                  <a16:creationId xmlns:a16="http://schemas.microsoft.com/office/drawing/2014/main" id="{C513D78C-C2B0-4E6F-AA07-1B13D041B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0386" y="7284"/>
              <a:ext cx="117475" cy="69850"/>
            </a:xfrm>
            <a:custGeom>
              <a:avLst/>
              <a:gdLst>
                <a:gd name="T0" fmla="*/ 44 w 47"/>
                <a:gd name="T1" fmla="*/ 18 h 28"/>
                <a:gd name="T2" fmla="*/ 9 w 47"/>
                <a:gd name="T3" fmla="*/ 2 h 28"/>
                <a:gd name="T4" fmla="*/ 5 w 47"/>
                <a:gd name="T5" fmla="*/ 10 h 28"/>
                <a:gd name="T6" fmla="*/ 39 w 47"/>
                <a:gd name="T7" fmla="*/ 27 h 28"/>
                <a:gd name="T8" fmla="*/ 44 w 47"/>
                <a:gd name="T9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28">
                  <a:moveTo>
                    <a:pt x="44" y="18"/>
                  </a:moveTo>
                  <a:cubicBezTo>
                    <a:pt x="33" y="11"/>
                    <a:pt x="21" y="6"/>
                    <a:pt x="9" y="2"/>
                  </a:cubicBezTo>
                  <a:cubicBezTo>
                    <a:pt x="3" y="0"/>
                    <a:pt x="0" y="7"/>
                    <a:pt x="5" y="10"/>
                  </a:cubicBezTo>
                  <a:cubicBezTo>
                    <a:pt x="16" y="17"/>
                    <a:pt x="27" y="23"/>
                    <a:pt x="39" y="27"/>
                  </a:cubicBezTo>
                  <a:cubicBezTo>
                    <a:pt x="44" y="28"/>
                    <a:pt x="47" y="21"/>
                    <a:pt x="44" y="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68" name="Freeform 49">
              <a:extLst>
                <a:ext uri="{FF2B5EF4-FFF2-40B4-BE49-F238E27FC236}">
                  <a16:creationId xmlns:a16="http://schemas.microsoft.com/office/drawing/2014/main" id="{420BE141-9265-4F7D-AC52-F2D0E6871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6411" y="134284"/>
              <a:ext cx="114300" cy="38100"/>
            </a:xfrm>
            <a:custGeom>
              <a:avLst/>
              <a:gdLst>
                <a:gd name="T0" fmla="*/ 41 w 46"/>
                <a:gd name="T1" fmla="*/ 4 h 15"/>
                <a:gd name="T2" fmla="*/ 24 w 46"/>
                <a:gd name="T3" fmla="*/ 1 h 15"/>
                <a:gd name="T4" fmla="*/ 6 w 46"/>
                <a:gd name="T5" fmla="*/ 0 h 15"/>
                <a:gd name="T6" fmla="*/ 6 w 46"/>
                <a:gd name="T7" fmla="*/ 9 h 15"/>
                <a:gd name="T8" fmla="*/ 40 w 46"/>
                <a:gd name="T9" fmla="*/ 13 h 15"/>
                <a:gd name="T10" fmla="*/ 41 w 46"/>
                <a:gd name="T11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15">
                  <a:moveTo>
                    <a:pt x="41" y="4"/>
                  </a:moveTo>
                  <a:cubicBezTo>
                    <a:pt x="35" y="2"/>
                    <a:pt x="29" y="2"/>
                    <a:pt x="24" y="1"/>
                  </a:cubicBezTo>
                  <a:cubicBezTo>
                    <a:pt x="18" y="1"/>
                    <a:pt x="12" y="0"/>
                    <a:pt x="6" y="0"/>
                  </a:cubicBezTo>
                  <a:cubicBezTo>
                    <a:pt x="0" y="0"/>
                    <a:pt x="1" y="8"/>
                    <a:pt x="6" y="9"/>
                  </a:cubicBezTo>
                  <a:cubicBezTo>
                    <a:pt x="16" y="11"/>
                    <a:pt x="29" y="15"/>
                    <a:pt x="40" y="13"/>
                  </a:cubicBezTo>
                  <a:cubicBezTo>
                    <a:pt x="45" y="12"/>
                    <a:pt x="46" y="5"/>
                    <a:pt x="41" y="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69" name="Freeform 50">
              <a:extLst>
                <a:ext uri="{FF2B5EF4-FFF2-40B4-BE49-F238E27FC236}">
                  <a16:creationId xmlns:a16="http://schemas.microsoft.com/office/drawing/2014/main" id="{7369CA85-714F-4DE0-A306-FBC5D7F7F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7798" y="597834"/>
              <a:ext cx="265112" cy="315913"/>
            </a:xfrm>
            <a:custGeom>
              <a:avLst/>
              <a:gdLst>
                <a:gd name="T0" fmla="*/ 0 w 106"/>
                <a:gd name="T1" fmla="*/ 52 h 127"/>
                <a:gd name="T2" fmla="*/ 60 w 106"/>
                <a:gd name="T3" fmla="*/ 0 h 127"/>
                <a:gd name="T4" fmla="*/ 106 w 106"/>
                <a:gd name="T5" fmla="*/ 77 h 127"/>
                <a:gd name="T6" fmla="*/ 44 w 106"/>
                <a:gd name="T7" fmla="*/ 124 h 127"/>
                <a:gd name="T8" fmla="*/ 0 w 106"/>
                <a:gd name="T9" fmla="*/ 52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27">
                  <a:moveTo>
                    <a:pt x="0" y="52"/>
                  </a:moveTo>
                  <a:cubicBezTo>
                    <a:pt x="0" y="52"/>
                    <a:pt x="20" y="0"/>
                    <a:pt x="60" y="0"/>
                  </a:cubicBezTo>
                  <a:cubicBezTo>
                    <a:pt x="60" y="0"/>
                    <a:pt x="98" y="58"/>
                    <a:pt x="106" y="77"/>
                  </a:cubicBezTo>
                  <a:cubicBezTo>
                    <a:pt x="106" y="77"/>
                    <a:pt x="66" y="127"/>
                    <a:pt x="44" y="124"/>
                  </a:cubicBezTo>
                  <a:cubicBezTo>
                    <a:pt x="44" y="124"/>
                    <a:pt x="8" y="70"/>
                    <a:pt x="0" y="52"/>
                  </a:cubicBezTo>
                </a:path>
              </a:pathLst>
            </a:custGeom>
            <a:solidFill>
              <a:srgbClr val="C39E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70" name="Freeform 51">
              <a:extLst>
                <a:ext uri="{FF2B5EF4-FFF2-40B4-BE49-F238E27FC236}">
                  <a16:creationId xmlns:a16="http://schemas.microsoft.com/office/drawing/2014/main" id="{7FCBCFF5-146A-4FBA-984E-161C0C036F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1148" y="775634"/>
              <a:ext cx="438150" cy="1063625"/>
            </a:xfrm>
            <a:custGeom>
              <a:avLst/>
              <a:gdLst>
                <a:gd name="T0" fmla="*/ 46 w 176"/>
                <a:gd name="T1" fmla="*/ 7 h 427"/>
                <a:gd name="T2" fmla="*/ 124 w 176"/>
                <a:gd name="T3" fmla="*/ 165 h 427"/>
                <a:gd name="T4" fmla="*/ 172 w 176"/>
                <a:gd name="T5" fmla="*/ 384 h 427"/>
                <a:gd name="T6" fmla="*/ 105 w 176"/>
                <a:gd name="T7" fmla="*/ 384 h 427"/>
                <a:gd name="T8" fmla="*/ 0 w 176"/>
                <a:gd name="T9" fmla="*/ 47 h 427"/>
                <a:gd name="T10" fmla="*/ 46 w 176"/>
                <a:gd name="T11" fmla="*/ 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6" h="427">
                  <a:moveTo>
                    <a:pt x="46" y="7"/>
                  </a:moveTo>
                  <a:cubicBezTo>
                    <a:pt x="46" y="7"/>
                    <a:pt x="101" y="120"/>
                    <a:pt x="124" y="165"/>
                  </a:cubicBezTo>
                  <a:cubicBezTo>
                    <a:pt x="147" y="210"/>
                    <a:pt x="168" y="341"/>
                    <a:pt x="172" y="384"/>
                  </a:cubicBezTo>
                  <a:cubicBezTo>
                    <a:pt x="176" y="427"/>
                    <a:pt x="102" y="402"/>
                    <a:pt x="105" y="384"/>
                  </a:cubicBezTo>
                  <a:cubicBezTo>
                    <a:pt x="108" y="367"/>
                    <a:pt x="51" y="140"/>
                    <a:pt x="0" y="47"/>
                  </a:cubicBezTo>
                  <a:cubicBezTo>
                    <a:pt x="0" y="47"/>
                    <a:pt x="23" y="0"/>
                    <a:pt x="46" y="7"/>
                  </a:cubicBezTo>
                </a:path>
              </a:pathLst>
            </a:custGeom>
            <a:solidFill>
              <a:srgbClr val="E4B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71" name="Freeform 52">
              <a:extLst>
                <a:ext uri="{FF2B5EF4-FFF2-40B4-BE49-F238E27FC236}">
                  <a16:creationId xmlns:a16="http://schemas.microsoft.com/office/drawing/2014/main" id="{5FA7E71D-D273-4EAD-BE98-204B35698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5136" y="1383647"/>
              <a:ext cx="195262" cy="277813"/>
            </a:xfrm>
            <a:custGeom>
              <a:avLst/>
              <a:gdLst>
                <a:gd name="T0" fmla="*/ 12 w 78"/>
                <a:gd name="T1" fmla="*/ 37 h 112"/>
                <a:gd name="T2" fmla="*/ 2 w 78"/>
                <a:gd name="T3" fmla="*/ 91 h 112"/>
                <a:gd name="T4" fmla="*/ 62 w 78"/>
                <a:gd name="T5" fmla="*/ 106 h 112"/>
                <a:gd name="T6" fmla="*/ 74 w 78"/>
                <a:gd name="T7" fmla="*/ 54 h 112"/>
                <a:gd name="T8" fmla="*/ 51 w 78"/>
                <a:gd name="T9" fmla="*/ 3 h 112"/>
                <a:gd name="T10" fmla="*/ 12 w 78"/>
                <a:gd name="T11" fmla="*/ 3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" h="112">
                  <a:moveTo>
                    <a:pt x="12" y="37"/>
                  </a:moveTo>
                  <a:cubicBezTo>
                    <a:pt x="12" y="37"/>
                    <a:pt x="0" y="84"/>
                    <a:pt x="2" y="91"/>
                  </a:cubicBezTo>
                  <a:cubicBezTo>
                    <a:pt x="4" y="98"/>
                    <a:pt x="60" y="112"/>
                    <a:pt x="62" y="106"/>
                  </a:cubicBezTo>
                  <a:cubicBezTo>
                    <a:pt x="64" y="99"/>
                    <a:pt x="69" y="65"/>
                    <a:pt x="74" y="54"/>
                  </a:cubicBezTo>
                  <a:cubicBezTo>
                    <a:pt x="78" y="42"/>
                    <a:pt x="62" y="5"/>
                    <a:pt x="51" y="3"/>
                  </a:cubicBezTo>
                  <a:cubicBezTo>
                    <a:pt x="40" y="0"/>
                    <a:pt x="12" y="37"/>
                    <a:pt x="12" y="37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72" name="Freeform 53">
              <a:extLst>
                <a:ext uri="{FF2B5EF4-FFF2-40B4-BE49-F238E27FC236}">
                  <a16:creationId xmlns:a16="http://schemas.microsoft.com/office/drawing/2014/main" id="{4150583D-BAB2-40AB-BC29-4719E5E6F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9923" y="1650347"/>
              <a:ext cx="1414462" cy="1417638"/>
            </a:xfrm>
            <a:custGeom>
              <a:avLst/>
              <a:gdLst>
                <a:gd name="T0" fmla="*/ 443 w 567"/>
                <a:gd name="T1" fmla="*/ 516 h 569"/>
                <a:gd name="T2" fmla="*/ 472 w 567"/>
                <a:gd name="T3" fmla="*/ 288 h 569"/>
                <a:gd name="T4" fmla="*/ 538 w 567"/>
                <a:gd name="T5" fmla="*/ 6 h 569"/>
                <a:gd name="T6" fmla="*/ 484 w 567"/>
                <a:gd name="T7" fmla="*/ 6 h 569"/>
                <a:gd name="T8" fmla="*/ 399 w 567"/>
                <a:gd name="T9" fmla="*/ 10 h 569"/>
                <a:gd name="T10" fmla="*/ 331 w 567"/>
                <a:gd name="T11" fmla="*/ 17 h 569"/>
                <a:gd name="T12" fmla="*/ 175 w 567"/>
                <a:gd name="T13" fmla="*/ 100 h 569"/>
                <a:gd name="T14" fmla="*/ 67 w 567"/>
                <a:gd name="T15" fmla="*/ 55 h 569"/>
                <a:gd name="T16" fmla="*/ 2 w 567"/>
                <a:gd name="T17" fmla="*/ 56 h 569"/>
                <a:gd name="T18" fmla="*/ 82 w 567"/>
                <a:gd name="T19" fmla="*/ 162 h 569"/>
                <a:gd name="T20" fmla="*/ 252 w 567"/>
                <a:gd name="T21" fmla="*/ 171 h 569"/>
                <a:gd name="T22" fmla="*/ 164 w 567"/>
                <a:gd name="T23" fmla="*/ 533 h 569"/>
                <a:gd name="T24" fmla="*/ 443 w 567"/>
                <a:gd name="T25" fmla="*/ 516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7" h="569">
                  <a:moveTo>
                    <a:pt x="443" y="516"/>
                  </a:moveTo>
                  <a:cubicBezTo>
                    <a:pt x="443" y="516"/>
                    <a:pt x="441" y="395"/>
                    <a:pt x="472" y="288"/>
                  </a:cubicBezTo>
                  <a:cubicBezTo>
                    <a:pt x="504" y="180"/>
                    <a:pt x="567" y="56"/>
                    <a:pt x="538" y="6"/>
                  </a:cubicBezTo>
                  <a:cubicBezTo>
                    <a:pt x="538" y="6"/>
                    <a:pt x="514" y="0"/>
                    <a:pt x="484" y="6"/>
                  </a:cubicBezTo>
                  <a:cubicBezTo>
                    <a:pt x="454" y="13"/>
                    <a:pt x="399" y="10"/>
                    <a:pt x="399" y="10"/>
                  </a:cubicBezTo>
                  <a:cubicBezTo>
                    <a:pt x="399" y="10"/>
                    <a:pt x="344" y="14"/>
                    <a:pt x="331" y="17"/>
                  </a:cubicBezTo>
                  <a:cubicBezTo>
                    <a:pt x="317" y="20"/>
                    <a:pt x="229" y="91"/>
                    <a:pt x="175" y="100"/>
                  </a:cubicBezTo>
                  <a:cubicBezTo>
                    <a:pt x="120" y="110"/>
                    <a:pt x="79" y="76"/>
                    <a:pt x="67" y="55"/>
                  </a:cubicBezTo>
                  <a:cubicBezTo>
                    <a:pt x="56" y="35"/>
                    <a:pt x="4" y="37"/>
                    <a:pt x="2" y="56"/>
                  </a:cubicBezTo>
                  <a:cubicBezTo>
                    <a:pt x="0" y="75"/>
                    <a:pt x="17" y="128"/>
                    <a:pt x="82" y="162"/>
                  </a:cubicBezTo>
                  <a:cubicBezTo>
                    <a:pt x="146" y="195"/>
                    <a:pt x="252" y="171"/>
                    <a:pt x="252" y="171"/>
                  </a:cubicBezTo>
                  <a:cubicBezTo>
                    <a:pt x="252" y="171"/>
                    <a:pt x="144" y="348"/>
                    <a:pt x="164" y="533"/>
                  </a:cubicBezTo>
                  <a:cubicBezTo>
                    <a:pt x="164" y="533"/>
                    <a:pt x="312" y="569"/>
                    <a:pt x="443" y="516"/>
                  </a:cubicBezTo>
                </a:path>
              </a:pathLst>
            </a:custGeom>
            <a:solidFill>
              <a:srgbClr val="FFC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73" name="Freeform 54">
              <a:extLst>
                <a:ext uri="{FF2B5EF4-FFF2-40B4-BE49-F238E27FC236}">
                  <a16:creationId xmlns:a16="http://schemas.microsoft.com/office/drawing/2014/main" id="{CC0598D9-49BF-4735-9D56-C21039212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898" y="1594784"/>
              <a:ext cx="346075" cy="144463"/>
            </a:xfrm>
            <a:custGeom>
              <a:avLst/>
              <a:gdLst>
                <a:gd name="T0" fmla="*/ 0 w 139"/>
                <a:gd name="T1" fmla="*/ 33 h 58"/>
                <a:gd name="T2" fmla="*/ 13 w 139"/>
                <a:gd name="T3" fmla="*/ 2 h 58"/>
                <a:gd name="T4" fmla="*/ 135 w 139"/>
                <a:gd name="T5" fmla="*/ 2 h 58"/>
                <a:gd name="T6" fmla="*/ 135 w 139"/>
                <a:gd name="T7" fmla="*/ 30 h 58"/>
                <a:gd name="T8" fmla="*/ 0 w 139"/>
                <a:gd name="T9" fmla="*/ 3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58">
                  <a:moveTo>
                    <a:pt x="0" y="33"/>
                  </a:moveTo>
                  <a:cubicBezTo>
                    <a:pt x="0" y="33"/>
                    <a:pt x="8" y="4"/>
                    <a:pt x="13" y="2"/>
                  </a:cubicBezTo>
                  <a:cubicBezTo>
                    <a:pt x="17" y="0"/>
                    <a:pt x="108" y="12"/>
                    <a:pt x="135" y="2"/>
                  </a:cubicBezTo>
                  <a:cubicBezTo>
                    <a:pt x="135" y="2"/>
                    <a:pt x="139" y="17"/>
                    <a:pt x="135" y="30"/>
                  </a:cubicBezTo>
                  <a:cubicBezTo>
                    <a:pt x="135" y="30"/>
                    <a:pt x="103" y="58"/>
                    <a:pt x="0" y="33"/>
                  </a:cubicBezTo>
                </a:path>
              </a:pathLst>
            </a:custGeom>
            <a:solidFill>
              <a:srgbClr val="C39E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74" name="Freeform 55">
              <a:extLst>
                <a:ext uri="{FF2B5EF4-FFF2-40B4-BE49-F238E27FC236}">
                  <a16:creationId xmlns:a16="http://schemas.microsoft.com/office/drawing/2014/main" id="{CC686EAA-C1AC-44F0-AAC2-B0F1204EB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0711" y="750234"/>
              <a:ext cx="419100" cy="931863"/>
            </a:xfrm>
            <a:custGeom>
              <a:avLst/>
              <a:gdLst>
                <a:gd name="T0" fmla="*/ 0 w 168"/>
                <a:gd name="T1" fmla="*/ 322 h 374"/>
                <a:gd name="T2" fmla="*/ 37 w 168"/>
                <a:gd name="T3" fmla="*/ 187 h 374"/>
                <a:gd name="T4" fmla="*/ 37 w 168"/>
                <a:gd name="T5" fmla="*/ 98 h 374"/>
                <a:gd name="T6" fmla="*/ 68 w 168"/>
                <a:gd name="T7" fmla="*/ 97 h 374"/>
                <a:gd name="T8" fmla="*/ 82 w 168"/>
                <a:gd name="T9" fmla="*/ 2 h 374"/>
                <a:gd name="T10" fmla="*/ 102 w 168"/>
                <a:gd name="T11" fmla="*/ 25 h 374"/>
                <a:gd name="T12" fmla="*/ 102 w 168"/>
                <a:gd name="T13" fmla="*/ 102 h 374"/>
                <a:gd name="T14" fmla="*/ 142 w 168"/>
                <a:gd name="T15" fmla="*/ 14 h 374"/>
                <a:gd name="T16" fmla="*/ 161 w 168"/>
                <a:gd name="T17" fmla="*/ 31 h 374"/>
                <a:gd name="T18" fmla="*/ 133 w 168"/>
                <a:gd name="T19" fmla="*/ 121 h 374"/>
                <a:gd name="T20" fmla="*/ 141 w 168"/>
                <a:gd name="T21" fmla="*/ 147 h 374"/>
                <a:gd name="T22" fmla="*/ 166 w 168"/>
                <a:gd name="T23" fmla="*/ 151 h 374"/>
                <a:gd name="T24" fmla="*/ 132 w 168"/>
                <a:gd name="T25" fmla="*/ 182 h 374"/>
                <a:gd name="T26" fmla="*/ 83 w 168"/>
                <a:gd name="T27" fmla="*/ 199 h 374"/>
                <a:gd name="T28" fmla="*/ 59 w 168"/>
                <a:gd name="T29" fmla="*/ 329 h 374"/>
                <a:gd name="T30" fmla="*/ 0 w 168"/>
                <a:gd name="T31" fmla="*/ 322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8" h="374">
                  <a:moveTo>
                    <a:pt x="0" y="322"/>
                  </a:moveTo>
                  <a:cubicBezTo>
                    <a:pt x="0" y="322"/>
                    <a:pt x="14" y="231"/>
                    <a:pt x="37" y="187"/>
                  </a:cubicBezTo>
                  <a:cubicBezTo>
                    <a:pt x="37" y="187"/>
                    <a:pt x="27" y="108"/>
                    <a:pt x="37" y="98"/>
                  </a:cubicBezTo>
                  <a:cubicBezTo>
                    <a:pt x="46" y="89"/>
                    <a:pt x="66" y="94"/>
                    <a:pt x="68" y="97"/>
                  </a:cubicBezTo>
                  <a:cubicBezTo>
                    <a:pt x="68" y="97"/>
                    <a:pt x="75" y="4"/>
                    <a:pt x="82" y="2"/>
                  </a:cubicBezTo>
                  <a:cubicBezTo>
                    <a:pt x="89" y="0"/>
                    <a:pt x="105" y="5"/>
                    <a:pt x="102" y="25"/>
                  </a:cubicBezTo>
                  <a:cubicBezTo>
                    <a:pt x="99" y="45"/>
                    <a:pt x="100" y="98"/>
                    <a:pt x="102" y="102"/>
                  </a:cubicBezTo>
                  <a:cubicBezTo>
                    <a:pt x="104" y="106"/>
                    <a:pt x="134" y="16"/>
                    <a:pt x="142" y="14"/>
                  </a:cubicBezTo>
                  <a:cubicBezTo>
                    <a:pt x="151" y="12"/>
                    <a:pt x="165" y="21"/>
                    <a:pt x="161" y="31"/>
                  </a:cubicBezTo>
                  <a:cubicBezTo>
                    <a:pt x="157" y="42"/>
                    <a:pt x="133" y="111"/>
                    <a:pt x="133" y="121"/>
                  </a:cubicBezTo>
                  <a:cubicBezTo>
                    <a:pt x="133" y="131"/>
                    <a:pt x="137" y="144"/>
                    <a:pt x="141" y="147"/>
                  </a:cubicBezTo>
                  <a:cubicBezTo>
                    <a:pt x="145" y="150"/>
                    <a:pt x="164" y="145"/>
                    <a:pt x="166" y="151"/>
                  </a:cubicBezTo>
                  <a:cubicBezTo>
                    <a:pt x="168" y="157"/>
                    <a:pt x="160" y="172"/>
                    <a:pt x="132" y="182"/>
                  </a:cubicBezTo>
                  <a:cubicBezTo>
                    <a:pt x="104" y="193"/>
                    <a:pt x="83" y="199"/>
                    <a:pt x="83" y="199"/>
                  </a:cubicBezTo>
                  <a:cubicBezTo>
                    <a:pt x="83" y="199"/>
                    <a:pt x="53" y="285"/>
                    <a:pt x="59" y="329"/>
                  </a:cubicBezTo>
                  <a:cubicBezTo>
                    <a:pt x="65" y="374"/>
                    <a:pt x="10" y="323"/>
                    <a:pt x="0" y="322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75" name="Freeform 56">
              <a:extLst>
                <a:ext uri="{FF2B5EF4-FFF2-40B4-BE49-F238E27FC236}">
                  <a16:creationId xmlns:a16="http://schemas.microsoft.com/office/drawing/2014/main" id="{3B3A8D4A-295C-48B4-9E1A-00CD0C301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8323" y="1502709"/>
              <a:ext cx="284162" cy="341313"/>
            </a:xfrm>
            <a:custGeom>
              <a:avLst/>
              <a:gdLst>
                <a:gd name="T0" fmla="*/ 73 w 114"/>
                <a:gd name="T1" fmla="*/ 125 h 137"/>
                <a:gd name="T2" fmla="*/ 24 w 114"/>
                <a:gd name="T3" fmla="*/ 137 h 137"/>
                <a:gd name="T4" fmla="*/ 1 w 114"/>
                <a:gd name="T5" fmla="*/ 16 h 137"/>
                <a:gd name="T6" fmla="*/ 83 w 114"/>
                <a:gd name="T7" fmla="*/ 16 h 137"/>
                <a:gd name="T8" fmla="*/ 114 w 114"/>
                <a:gd name="T9" fmla="*/ 105 h 137"/>
                <a:gd name="T10" fmla="*/ 73 w 114"/>
                <a:gd name="T11" fmla="*/ 12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137">
                  <a:moveTo>
                    <a:pt x="73" y="125"/>
                  </a:moveTo>
                  <a:cubicBezTo>
                    <a:pt x="48" y="133"/>
                    <a:pt x="35" y="137"/>
                    <a:pt x="24" y="137"/>
                  </a:cubicBezTo>
                  <a:cubicBezTo>
                    <a:pt x="12" y="137"/>
                    <a:pt x="0" y="32"/>
                    <a:pt x="1" y="16"/>
                  </a:cubicBezTo>
                  <a:cubicBezTo>
                    <a:pt x="2" y="0"/>
                    <a:pt x="72" y="12"/>
                    <a:pt x="83" y="16"/>
                  </a:cubicBezTo>
                  <a:cubicBezTo>
                    <a:pt x="95" y="20"/>
                    <a:pt x="104" y="87"/>
                    <a:pt x="114" y="105"/>
                  </a:cubicBezTo>
                  <a:cubicBezTo>
                    <a:pt x="114" y="105"/>
                    <a:pt x="98" y="118"/>
                    <a:pt x="73" y="125"/>
                  </a:cubicBezTo>
                </a:path>
              </a:pathLst>
            </a:custGeom>
            <a:solidFill>
              <a:srgbClr val="C39E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76" name="Freeform 57">
              <a:extLst>
                <a:ext uri="{FF2B5EF4-FFF2-40B4-BE49-F238E27FC236}">
                  <a16:creationId xmlns:a16="http://schemas.microsoft.com/office/drawing/2014/main" id="{D7E6828E-26C1-49CA-9F93-20651C6B8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823" y="1256647"/>
              <a:ext cx="147637" cy="153988"/>
            </a:xfrm>
            <a:custGeom>
              <a:avLst/>
              <a:gdLst>
                <a:gd name="T0" fmla="*/ 0 w 59"/>
                <a:gd name="T1" fmla="*/ 57 h 62"/>
                <a:gd name="T2" fmla="*/ 24 w 59"/>
                <a:gd name="T3" fmla="*/ 10 h 62"/>
                <a:gd name="T4" fmla="*/ 59 w 59"/>
                <a:gd name="T5" fmla="*/ 10 h 62"/>
                <a:gd name="T6" fmla="*/ 0 w 59"/>
                <a:gd name="T7" fmla="*/ 5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" h="62">
                  <a:moveTo>
                    <a:pt x="0" y="57"/>
                  </a:moveTo>
                  <a:cubicBezTo>
                    <a:pt x="0" y="57"/>
                    <a:pt x="2" y="20"/>
                    <a:pt x="24" y="10"/>
                  </a:cubicBezTo>
                  <a:cubicBezTo>
                    <a:pt x="46" y="0"/>
                    <a:pt x="59" y="10"/>
                    <a:pt x="59" y="10"/>
                  </a:cubicBezTo>
                  <a:cubicBezTo>
                    <a:pt x="59" y="10"/>
                    <a:pt x="22" y="62"/>
                    <a:pt x="0" y="57"/>
                  </a:cubicBezTo>
                </a:path>
              </a:pathLst>
            </a:custGeom>
            <a:solidFill>
              <a:srgbClr val="D893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77" name="Freeform 58">
              <a:extLst>
                <a:ext uri="{FF2B5EF4-FFF2-40B4-BE49-F238E27FC236}">
                  <a16:creationId xmlns:a16="http://schemas.microsoft.com/office/drawing/2014/main" id="{2B1081E3-6776-4552-899B-C377F9ADD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5273" y="751822"/>
              <a:ext cx="520700" cy="758825"/>
            </a:xfrm>
            <a:custGeom>
              <a:avLst/>
              <a:gdLst>
                <a:gd name="T0" fmla="*/ 120 w 209"/>
                <a:gd name="T1" fmla="*/ 26 h 304"/>
                <a:gd name="T2" fmla="*/ 56 w 209"/>
                <a:gd name="T3" fmla="*/ 124 h 304"/>
                <a:gd name="T4" fmla="*/ 37 w 209"/>
                <a:gd name="T5" fmla="*/ 124 h 304"/>
                <a:gd name="T6" fmla="*/ 14 w 209"/>
                <a:gd name="T7" fmla="*/ 142 h 304"/>
                <a:gd name="T8" fmla="*/ 42 w 209"/>
                <a:gd name="T9" fmla="*/ 166 h 304"/>
                <a:gd name="T10" fmla="*/ 25 w 209"/>
                <a:gd name="T11" fmla="*/ 195 h 304"/>
                <a:gd name="T12" fmla="*/ 95 w 209"/>
                <a:gd name="T13" fmla="*/ 195 h 304"/>
                <a:gd name="T14" fmla="*/ 12 w 209"/>
                <a:gd name="T15" fmla="*/ 248 h 304"/>
                <a:gd name="T16" fmla="*/ 3 w 209"/>
                <a:gd name="T17" fmla="*/ 286 h 304"/>
                <a:gd name="T18" fmla="*/ 92 w 209"/>
                <a:gd name="T19" fmla="*/ 294 h 304"/>
                <a:gd name="T20" fmla="*/ 155 w 209"/>
                <a:gd name="T21" fmla="*/ 202 h 304"/>
                <a:gd name="T22" fmla="*/ 202 w 209"/>
                <a:gd name="T23" fmla="*/ 125 h 304"/>
                <a:gd name="T24" fmla="*/ 120 w 209"/>
                <a:gd name="T25" fmla="*/ 26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9" h="304">
                  <a:moveTo>
                    <a:pt x="120" y="26"/>
                  </a:moveTo>
                  <a:cubicBezTo>
                    <a:pt x="120" y="26"/>
                    <a:pt x="65" y="109"/>
                    <a:pt x="56" y="124"/>
                  </a:cubicBezTo>
                  <a:cubicBezTo>
                    <a:pt x="47" y="140"/>
                    <a:pt x="40" y="128"/>
                    <a:pt x="37" y="124"/>
                  </a:cubicBezTo>
                  <a:cubicBezTo>
                    <a:pt x="34" y="121"/>
                    <a:pt x="5" y="130"/>
                    <a:pt x="14" y="142"/>
                  </a:cubicBezTo>
                  <a:cubicBezTo>
                    <a:pt x="23" y="154"/>
                    <a:pt x="42" y="166"/>
                    <a:pt x="42" y="166"/>
                  </a:cubicBezTo>
                  <a:cubicBezTo>
                    <a:pt x="42" y="166"/>
                    <a:pt x="27" y="189"/>
                    <a:pt x="25" y="195"/>
                  </a:cubicBezTo>
                  <a:cubicBezTo>
                    <a:pt x="25" y="195"/>
                    <a:pt x="79" y="198"/>
                    <a:pt x="95" y="195"/>
                  </a:cubicBezTo>
                  <a:cubicBezTo>
                    <a:pt x="95" y="195"/>
                    <a:pt x="66" y="255"/>
                    <a:pt x="12" y="248"/>
                  </a:cubicBezTo>
                  <a:cubicBezTo>
                    <a:pt x="12" y="248"/>
                    <a:pt x="0" y="281"/>
                    <a:pt x="3" y="286"/>
                  </a:cubicBezTo>
                  <a:cubicBezTo>
                    <a:pt x="6" y="292"/>
                    <a:pt x="77" y="304"/>
                    <a:pt x="92" y="294"/>
                  </a:cubicBezTo>
                  <a:cubicBezTo>
                    <a:pt x="108" y="284"/>
                    <a:pt x="130" y="242"/>
                    <a:pt x="155" y="202"/>
                  </a:cubicBezTo>
                  <a:cubicBezTo>
                    <a:pt x="180" y="163"/>
                    <a:pt x="209" y="167"/>
                    <a:pt x="202" y="125"/>
                  </a:cubicBezTo>
                  <a:cubicBezTo>
                    <a:pt x="196" y="84"/>
                    <a:pt x="152" y="0"/>
                    <a:pt x="120" y="26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78" name="Freeform 59">
              <a:extLst>
                <a:ext uri="{FF2B5EF4-FFF2-40B4-BE49-F238E27FC236}">
                  <a16:creationId xmlns:a16="http://schemas.microsoft.com/office/drawing/2014/main" id="{729DDB0D-48B1-44CD-962A-C88678D3D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2923" y="572434"/>
              <a:ext cx="731837" cy="1079500"/>
            </a:xfrm>
            <a:custGeom>
              <a:avLst/>
              <a:gdLst>
                <a:gd name="T0" fmla="*/ 65 w 294"/>
                <a:gd name="T1" fmla="*/ 137 h 433"/>
                <a:gd name="T2" fmla="*/ 4 w 294"/>
                <a:gd name="T3" fmla="*/ 93 h 433"/>
                <a:gd name="T4" fmla="*/ 40 w 294"/>
                <a:gd name="T5" fmla="*/ 2 h 433"/>
                <a:gd name="T6" fmla="*/ 80 w 294"/>
                <a:gd name="T7" fmla="*/ 62 h 433"/>
                <a:gd name="T8" fmla="*/ 166 w 294"/>
                <a:gd name="T9" fmla="*/ 49 h 433"/>
                <a:gd name="T10" fmla="*/ 177 w 294"/>
                <a:gd name="T11" fmla="*/ 109 h 433"/>
                <a:gd name="T12" fmla="*/ 251 w 294"/>
                <a:gd name="T13" fmla="*/ 212 h 433"/>
                <a:gd name="T14" fmla="*/ 288 w 294"/>
                <a:gd name="T15" fmla="*/ 247 h 433"/>
                <a:gd name="T16" fmla="*/ 255 w 294"/>
                <a:gd name="T17" fmla="*/ 247 h 433"/>
                <a:gd name="T18" fmla="*/ 259 w 294"/>
                <a:gd name="T19" fmla="*/ 304 h 433"/>
                <a:gd name="T20" fmla="*/ 240 w 294"/>
                <a:gd name="T21" fmla="*/ 304 h 433"/>
                <a:gd name="T22" fmla="*/ 200 w 294"/>
                <a:gd name="T23" fmla="*/ 369 h 433"/>
                <a:gd name="T24" fmla="*/ 135 w 294"/>
                <a:gd name="T25" fmla="*/ 386 h 433"/>
                <a:gd name="T26" fmla="*/ 110 w 294"/>
                <a:gd name="T27" fmla="*/ 431 h 433"/>
                <a:gd name="T28" fmla="*/ 66 w 294"/>
                <a:gd name="T29" fmla="*/ 384 h 433"/>
                <a:gd name="T30" fmla="*/ 45 w 294"/>
                <a:gd name="T31" fmla="*/ 399 h 433"/>
                <a:gd name="T32" fmla="*/ 20 w 294"/>
                <a:gd name="T33" fmla="*/ 332 h 433"/>
                <a:gd name="T34" fmla="*/ 53 w 294"/>
                <a:gd name="T35" fmla="*/ 268 h 433"/>
                <a:gd name="T36" fmla="*/ 87 w 294"/>
                <a:gd name="T37" fmla="*/ 216 h 433"/>
                <a:gd name="T38" fmla="*/ 65 w 294"/>
                <a:gd name="T39" fmla="*/ 137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433">
                  <a:moveTo>
                    <a:pt x="65" y="137"/>
                  </a:moveTo>
                  <a:cubicBezTo>
                    <a:pt x="65" y="137"/>
                    <a:pt x="8" y="139"/>
                    <a:pt x="4" y="93"/>
                  </a:cubicBezTo>
                  <a:cubicBezTo>
                    <a:pt x="0" y="48"/>
                    <a:pt x="21" y="3"/>
                    <a:pt x="40" y="2"/>
                  </a:cubicBezTo>
                  <a:cubicBezTo>
                    <a:pt x="60" y="0"/>
                    <a:pt x="121" y="30"/>
                    <a:pt x="80" y="62"/>
                  </a:cubicBezTo>
                  <a:cubicBezTo>
                    <a:pt x="80" y="62"/>
                    <a:pt x="136" y="39"/>
                    <a:pt x="166" y="49"/>
                  </a:cubicBezTo>
                  <a:cubicBezTo>
                    <a:pt x="196" y="59"/>
                    <a:pt x="230" y="91"/>
                    <a:pt x="177" y="109"/>
                  </a:cubicBezTo>
                  <a:cubicBezTo>
                    <a:pt x="177" y="109"/>
                    <a:pt x="278" y="150"/>
                    <a:pt x="251" y="212"/>
                  </a:cubicBezTo>
                  <a:cubicBezTo>
                    <a:pt x="251" y="212"/>
                    <a:pt x="294" y="227"/>
                    <a:pt x="288" y="247"/>
                  </a:cubicBezTo>
                  <a:cubicBezTo>
                    <a:pt x="283" y="267"/>
                    <a:pt x="255" y="247"/>
                    <a:pt x="255" y="247"/>
                  </a:cubicBezTo>
                  <a:cubicBezTo>
                    <a:pt x="255" y="247"/>
                    <a:pt x="277" y="293"/>
                    <a:pt x="259" y="304"/>
                  </a:cubicBezTo>
                  <a:cubicBezTo>
                    <a:pt x="242" y="315"/>
                    <a:pt x="240" y="304"/>
                    <a:pt x="240" y="304"/>
                  </a:cubicBezTo>
                  <a:cubicBezTo>
                    <a:pt x="240" y="304"/>
                    <a:pt x="246" y="348"/>
                    <a:pt x="200" y="369"/>
                  </a:cubicBezTo>
                  <a:cubicBezTo>
                    <a:pt x="154" y="391"/>
                    <a:pt x="135" y="386"/>
                    <a:pt x="135" y="386"/>
                  </a:cubicBezTo>
                  <a:cubicBezTo>
                    <a:pt x="135" y="386"/>
                    <a:pt x="137" y="433"/>
                    <a:pt x="110" y="431"/>
                  </a:cubicBezTo>
                  <a:cubicBezTo>
                    <a:pt x="82" y="428"/>
                    <a:pt x="66" y="384"/>
                    <a:pt x="66" y="384"/>
                  </a:cubicBezTo>
                  <a:cubicBezTo>
                    <a:pt x="66" y="384"/>
                    <a:pt x="68" y="401"/>
                    <a:pt x="45" y="399"/>
                  </a:cubicBezTo>
                  <a:cubicBezTo>
                    <a:pt x="22" y="397"/>
                    <a:pt x="21" y="347"/>
                    <a:pt x="20" y="332"/>
                  </a:cubicBezTo>
                  <a:cubicBezTo>
                    <a:pt x="20" y="317"/>
                    <a:pt x="53" y="268"/>
                    <a:pt x="53" y="268"/>
                  </a:cubicBezTo>
                  <a:cubicBezTo>
                    <a:pt x="53" y="268"/>
                    <a:pt x="64" y="216"/>
                    <a:pt x="87" y="216"/>
                  </a:cubicBezTo>
                  <a:cubicBezTo>
                    <a:pt x="87" y="216"/>
                    <a:pt x="16" y="182"/>
                    <a:pt x="65" y="137"/>
                  </a:cubicBezTo>
                </a:path>
              </a:pathLst>
            </a:custGeom>
            <a:solidFill>
              <a:srgbClr val="A966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79" name="Freeform 60">
              <a:extLst>
                <a:ext uri="{FF2B5EF4-FFF2-40B4-BE49-F238E27FC236}">
                  <a16:creationId xmlns:a16="http://schemas.microsoft.com/office/drawing/2014/main" id="{9F6DA281-98DF-4511-803B-3702D819A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623" y="1104247"/>
              <a:ext cx="168275" cy="296863"/>
            </a:xfrm>
            <a:custGeom>
              <a:avLst/>
              <a:gdLst>
                <a:gd name="T0" fmla="*/ 29 w 68"/>
                <a:gd name="T1" fmla="*/ 3 h 119"/>
                <a:gd name="T2" fmla="*/ 57 w 68"/>
                <a:gd name="T3" fmla="*/ 70 h 119"/>
                <a:gd name="T4" fmla="*/ 10 w 68"/>
                <a:gd name="T5" fmla="*/ 107 h 119"/>
                <a:gd name="T6" fmla="*/ 23 w 68"/>
                <a:gd name="T7" fmla="*/ 69 h 119"/>
                <a:gd name="T8" fmla="*/ 29 w 68"/>
                <a:gd name="T9" fmla="*/ 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119">
                  <a:moveTo>
                    <a:pt x="29" y="3"/>
                  </a:moveTo>
                  <a:cubicBezTo>
                    <a:pt x="40" y="0"/>
                    <a:pt x="68" y="45"/>
                    <a:pt x="57" y="70"/>
                  </a:cubicBezTo>
                  <a:cubicBezTo>
                    <a:pt x="46" y="96"/>
                    <a:pt x="20" y="119"/>
                    <a:pt x="10" y="107"/>
                  </a:cubicBezTo>
                  <a:cubicBezTo>
                    <a:pt x="0" y="94"/>
                    <a:pt x="12" y="85"/>
                    <a:pt x="23" y="69"/>
                  </a:cubicBezTo>
                  <a:cubicBezTo>
                    <a:pt x="34" y="54"/>
                    <a:pt x="15" y="8"/>
                    <a:pt x="29" y="3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80" name="Freeform 61">
              <a:extLst>
                <a:ext uri="{FF2B5EF4-FFF2-40B4-BE49-F238E27FC236}">
                  <a16:creationId xmlns:a16="http://schemas.microsoft.com/office/drawing/2014/main" id="{3250FE87-10FE-4BD3-9923-6220CE219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273" y="939147"/>
              <a:ext cx="80962" cy="95250"/>
            </a:xfrm>
            <a:custGeom>
              <a:avLst/>
              <a:gdLst>
                <a:gd name="T0" fmla="*/ 9 w 32"/>
                <a:gd name="T1" fmla="*/ 0 h 38"/>
                <a:gd name="T2" fmla="*/ 29 w 32"/>
                <a:gd name="T3" fmla="*/ 38 h 38"/>
                <a:gd name="T4" fmla="*/ 0 w 32"/>
                <a:gd name="T5" fmla="*/ 7 h 38"/>
                <a:gd name="T6" fmla="*/ 9 w 32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8">
                  <a:moveTo>
                    <a:pt x="9" y="0"/>
                  </a:moveTo>
                  <a:cubicBezTo>
                    <a:pt x="9" y="0"/>
                    <a:pt x="32" y="12"/>
                    <a:pt x="29" y="38"/>
                  </a:cubicBezTo>
                  <a:cubicBezTo>
                    <a:pt x="29" y="38"/>
                    <a:pt x="20" y="7"/>
                    <a:pt x="0" y="7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9555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81" name="Freeform 62">
              <a:extLst>
                <a:ext uri="{FF2B5EF4-FFF2-40B4-BE49-F238E27FC236}">
                  <a16:creationId xmlns:a16="http://schemas.microsoft.com/office/drawing/2014/main" id="{32F19214-404C-41CF-A686-AE82D251A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2598" y="1034397"/>
              <a:ext cx="47625" cy="61913"/>
            </a:xfrm>
            <a:custGeom>
              <a:avLst/>
              <a:gdLst>
                <a:gd name="T0" fmla="*/ 17 w 19"/>
                <a:gd name="T1" fmla="*/ 16 h 25"/>
                <a:gd name="T2" fmla="*/ 5 w 19"/>
                <a:gd name="T3" fmla="*/ 23 h 25"/>
                <a:gd name="T4" fmla="*/ 2 w 19"/>
                <a:gd name="T5" fmla="*/ 9 h 25"/>
                <a:gd name="T6" fmla="*/ 14 w 19"/>
                <a:gd name="T7" fmla="*/ 1 h 25"/>
                <a:gd name="T8" fmla="*/ 17 w 19"/>
                <a:gd name="T9" fmla="*/ 1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5">
                  <a:moveTo>
                    <a:pt x="17" y="16"/>
                  </a:moveTo>
                  <a:cubicBezTo>
                    <a:pt x="14" y="22"/>
                    <a:pt x="8" y="25"/>
                    <a:pt x="5" y="23"/>
                  </a:cubicBezTo>
                  <a:cubicBezTo>
                    <a:pt x="1" y="22"/>
                    <a:pt x="0" y="15"/>
                    <a:pt x="2" y="9"/>
                  </a:cubicBezTo>
                  <a:cubicBezTo>
                    <a:pt x="5" y="3"/>
                    <a:pt x="10" y="0"/>
                    <a:pt x="14" y="1"/>
                  </a:cubicBezTo>
                  <a:cubicBezTo>
                    <a:pt x="18" y="3"/>
                    <a:pt x="19" y="9"/>
                    <a:pt x="17" y="16"/>
                  </a:cubicBezTo>
                </a:path>
              </a:pathLst>
            </a:custGeom>
            <a:solidFill>
              <a:srgbClr val="1314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82" name="Freeform 63">
              <a:extLst>
                <a:ext uri="{FF2B5EF4-FFF2-40B4-BE49-F238E27FC236}">
                  <a16:creationId xmlns:a16="http://schemas.microsoft.com/office/drawing/2014/main" id="{C08EA548-00A3-4380-B874-B6E4DEBFE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598" y="3237847"/>
              <a:ext cx="157162" cy="1652588"/>
            </a:xfrm>
            <a:custGeom>
              <a:avLst/>
              <a:gdLst>
                <a:gd name="T0" fmla="*/ 49 w 63"/>
                <a:gd name="T1" fmla="*/ 0 h 663"/>
                <a:gd name="T2" fmla="*/ 61 w 63"/>
                <a:gd name="T3" fmla="*/ 629 h 663"/>
                <a:gd name="T4" fmla="*/ 12 w 63"/>
                <a:gd name="T5" fmla="*/ 629 h 663"/>
                <a:gd name="T6" fmla="*/ 0 w 63"/>
                <a:gd name="T7" fmla="*/ 0 h 663"/>
                <a:gd name="T8" fmla="*/ 49 w 63"/>
                <a:gd name="T9" fmla="*/ 0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63">
                  <a:moveTo>
                    <a:pt x="49" y="0"/>
                  </a:moveTo>
                  <a:cubicBezTo>
                    <a:pt x="49" y="0"/>
                    <a:pt x="58" y="609"/>
                    <a:pt x="61" y="629"/>
                  </a:cubicBezTo>
                  <a:cubicBezTo>
                    <a:pt x="63" y="649"/>
                    <a:pt x="20" y="663"/>
                    <a:pt x="12" y="629"/>
                  </a:cubicBezTo>
                  <a:cubicBezTo>
                    <a:pt x="5" y="595"/>
                    <a:pt x="0" y="0"/>
                    <a:pt x="0" y="0"/>
                  </a:cubicBezTo>
                  <a:lnTo>
                    <a:pt x="49" y="0"/>
                  </a:lnTo>
                  <a:close/>
                </a:path>
              </a:pathLst>
            </a:custGeom>
            <a:solidFill>
              <a:srgbClr val="2A35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83" name="Freeform 64">
              <a:extLst>
                <a:ext uri="{FF2B5EF4-FFF2-40B4-BE49-F238E27FC236}">
                  <a16:creationId xmlns:a16="http://schemas.microsoft.com/office/drawing/2014/main" id="{0C6BD561-EDBC-46E2-B708-A7F05F123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6698" y="3796647"/>
              <a:ext cx="133350" cy="954088"/>
            </a:xfrm>
            <a:custGeom>
              <a:avLst/>
              <a:gdLst>
                <a:gd name="T0" fmla="*/ 10 w 53"/>
                <a:gd name="T1" fmla="*/ 18 h 383"/>
                <a:gd name="T2" fmla="*/ 10 w 53"/>
                <a:gd name="T3" fmla="*/ 383 h 383"/>
                <a:gd name="T4" fmla="*/ 53 w 53"/>
                <a:gd name="T5" fmla="*/ 383 h 383"/>
                <a:gd name="T6" fmla="*/ 53 w 53"/>
                <a:gd name="T7" fmla="*/ 18 h 383"/>
                <a:gd name="T8" fmla="*/ 10 w 53"/>
                <a:gd name="T9" fmla="*/ 18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83">
                  <a:moveTo>
                    <a:pt x="10" y="18"/>
                  </a:moveTo>
                  <a:cubicBezTo>
                    <a:pt x="10" y="18"/>
                    <a:pt x="0" y="372"/>
                    <a:pt x="10" y="383"/>
                  </a:cubicBezTo>
                  <a:cubicBezTo>
                    <a:pt x="53" y="383"/>
                    <a:pt x="53" y="383"/>
                    <a:pt x="53" y="383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0"/>
                    <a:pt x="11" y="3"/>
                    <a:pt x="10" y="18"/>
                  </a:cubicBezTo>
                </a:path>
              </a:pathLst>
            </a:custGeom>
            <a:solidFill>
              <a:srgbClr val="3C4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84" name="Freeform 65">
              <a:extLst>
                <a:ext uri="{FF2B5EF4-FFF2-40B4-BE49-F238E27FC236}">
                  <a16:creationId xmlns:a16="http://schemas.microsoft.com/office/drawing/2014/main" id="{3BC12B58-7DF6-44B3-B076-08D393C58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2973" y="3772835"/>
              <a:ext cx="153987" cy="985838"/>
            </a:xfrm>
            <a:custGeom>
              <a:avLst/>
              <a:gdLst>
                <a:gd name="T0" fmla="*/ 0 w 62"/>
                <a:gd name="T1" fmla="*/ 21 h 395"/>
                <a:gd name="T2" fmla="*/ 14 w 62"/>
                <a:gd name="T3" fmla="*/ 392 h 395"/>
                <a:gd name="T4" fmla="*/ 56 w 62"/>
                <a:gd name="T5" fmla="*/ 392 h 395"/>
                <a:gd name="T6" fmla="*/ 56 w 62"/>
                <a:gd name="T7" fmla="*/ 31 h 395"/>
                <a:gd name="T8" fmla="*/ 0 w 62"/>
                <a:gd name="T9" fmla="*/ 21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395">
                  <a:moveTo>
                    <a:pt x="0" y="21"/>
                  </a:moveTo>
                  <a:cubicBezTo>
                    <a:pt x="0" y="21"/>
                    <a:pt x="4" y="390"/>
                    <a:pt x="14" y="392"/>
                  </a:cubicBezTo>
                  <a:cubicBezTo>
                    <a:pt x="24" y="395"/>
                    <a:pt x="56" y="392"/>
                    <a:pt x="56" y="392"/>
                  </a:cubicBezTo>
                  <a:cubicBezTo>
                    <a:pt x="56" y="392"/>
                    <a:pt x="62" y="62"/>
                    <a:pt x="56" y="31"/>
                  </a:cubicBezTo>
                  <a:cubicBezTo>
                    <a:pt x="49" y="0"/>
                    <a:pt x="0" y="21"/>
                    <a:pt x="0" y="21"/>
                  </a:cubicBezTo>
                </a:path>
              </a:pathLst>
            </a:custGeom>
            <a:solidFill>
              <a:srgbClr val="3C4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85" name="Freeform 66">
              <a:extLst>
                <a:ext uri="{FF2B5EF4-FFF2-40B4-BE49-F238E27FC236}">
                  <a16:creationId xmlns:a16="http://schemas.microsoft.com/office/drawing/2014/main" id="{3430F89C-CFEB-42F0-805F-AE124D4E7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3998" y="3628372"/>
              <a:ext cx="915987" cy="234950"/>
            </a:xfrm>
            <a:custGeom>
              <a:avLst/>
              <a:gdLst>
                <a:gd name="T0" fmla="*/ 367 w 367"/>
                <a:gd name="T1" fmla="*/ 27 h 94"/>
                <a:gd name="T2" fmla="*/ 351 w 367"/>
                <a:gd name="T3" fmla="*/ 94 h 94"/>
                <a:gd name="T4" fmla="*/ 2 w 367"/>
                <a:gd name="T5" fmla="*/ 89 h 94"/>
                <a:gd name="T6" fmla="*/ 0 w 367"/>
                <a:gd name="T7" fmla="*/ 3 h 94"/>
                <a:gd name="T8" fmla="*/ 367 w 367"/>
                <a:gd name="T9" fmla="*/ 2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" h="94">
                  <a:moveTo>
                    <a:pt x="367" y="27"/>
                  </a:moveTo>
                  <a:cubicBezTo>
                    <a:pt x="351" y="94"/>
                    <a:pt x="351" y="94"/>
                    <a:pt x="351" y="94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278" y="0"/>
                    <a:pt x="367" y="27"/>
                  </a:cubicBezTo>
                </a:path>
              </a:pathLst>
            </a:custGeom>
            <a:solidFill>
              <a:srgbClr val="3C4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86" name="Freeform 67">
              <a:extLst>
                <a:ext uri="{FF2B5EF4-FFF2-40B4-BE49-F238E27FC236}">
                  <a16:creationId xmlns:a16="http://schemas.microsoft.com/office/drawing/2014/main" id="{B008DA2C-CC2B-48E1-828E-1681163C1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098" y="2666347"/>
              <a:ext cx="74612" cy="149225"/>
            </a:xfrm>
            <a:custGeom>
              <a:avLst/>
              <a:gdLst>
                <a:gd name="T0" fmla="*/ 30 w 30"/>
                <a:gd name="T1" fmla="*/ 0 h 60"/>
                <a:gd name="T2" fmla="*/ 0 w 30"/>
                <a:gd name="T3" fmla="*/ 60 h 60"/>
                <a:gd name="T4" fmla="*/ 30 w 30"/>
                <a:gd name="T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60">
                  <a:moveTo>
                    <a:pt x="30" y="0"/>
                  </a:moveTo>
                  <a:cubicBezTo>
                    <a:pt x="30" y="0"/>
                    <a:pt x="1" y="46"/>
                    <a:pt x="0" y="60"/>
                  </a:cubicBezTo>
                  <a:cubicBezTo>
                    <a:pt x="0" y="60"/>
                    <a:pt x="27" y="19"/>
                    <a:pt x="3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87" name="Freeform 68">
              <a:extLst>
                <a:ext uri="{FF2B5EF4-FFF2-40B4-BE49-F238E27FC236}">
                  <a16:creationId xmlns:a16="http://schemas.microsoft.com/office/drawing/2014/main" id="{2BA6CF4A-7C32-4EF6-B94F-61F0B842F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3748" y="4485622"/>
              <a:ext cx="420687" cy="533400"/>
            </a:xfrm>
            <a:custGeom>
              <a:avLst/>
              <a:gdLst>
                <a:gd name="T0" fmla="*/ 117 w 169"/>
                <a:gd name="T1" fmla="*/ 39 h 214"/>
                <a:gd name="T2" fmla="*/ 81 w 169"/>
                <a:gd name="T3" fmla="*/ 103 h 214"/>
                <a:gd name="T4" fmla="*/ 99 w 169"/>
                <a:gd name="T5" fmla="*/ 158 h 214"/>
                <a:gd name="T6" fmla="*/ 165 w 169"/>
                <a:gd name="T7" fmla="*/ 180 h 214"/>
                <a:gd name="T8" fmla="*/ 165 w 169"/>
                <a:gd name="T9" fmla="*/ 207 h 214"/>
                <a:gd name="T10" fmla="*/ 64 w 169"/>
                <a:gd name="T11" fmla="*/ 207 h 214"/>
                <a:gd name="T12" fmla="*/ 6 w 169"/>
                <a:gd name="T13" fmla="*/ 53 h 214"/>
                <a:gd name="T14" fmla="*/ 64 w 169"/>
                <a:gd name="T15" fmla="*/ 8 h 214"/>
                <a:gd name="T16" fmla="*/ 117 w 169"/>
                <a:gd name="T17" fmla="*/ 39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" h="214">
                  <a:moveTo>
                    <a:pt x="117" y="39"/>
                  </a:moveTo>
                  <a:cubicBezTo>
                    <a:pt x="117" y="39"/>
                    <a:pt x="86" y="88"/>
                    <a:pt x="81" y="103"/>
                  </a:cubicBezTo>
                  <a:cubicBezTo>
                    <a:pt x="76" y="117"/>
                    <a:pt x="91" y="155"/>
                    <a:pt x="99" y="158"/>
                  </a:cubicBezTo>
                  <a:cubicBezTo>
                    <a:pt x="107" y="160"/>
                    <a:pt x="161" y="170"/>
                    <a:pt x="165" y="180"/>
                  </a:cubicBezTo>
                  <a:cubicBezTo>
                    <a:pt x="169" y="190"/>
                    <a:pt x="165" y="207"/>
                    <a:pt x="165" y="207"/>
                  </a:cubicBezTo>
                  <a:cubicBezTo>
                    <a:pt x="165" y="207"/>
                    <a:pt x="99" y="214"/>
                    <a:pt x="64" y="207"/>
                  </a:cubicBezTo>
                  <a:cubicBezTo>
                    <a:pt x="28" y="200"/>
                    <a:pt x="0" y="93"/>
                    <a:pt x="6" y="53"/>
                  </a:cubicBezTo>
                  <a:cubicBezTo>
                    <a:pt x="6" y="53"/>
                    <a:pt x="55" y="16"/>
                    <a:pt x="64" y="8"/>
                  </a:cubicBezTo>
                  <a:cubicBezTo>
                    <a:pt x="72" y="0"/>
                    <a:pt x="117" y="39"/>
                    <a:pt x="117" y="39"/>
                  </a:cubicBezTo>
                </a:path>
              </a:pathLst>
            </a:custGeom>
            <a:solidFill>
              <a:srgbClr val="192E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88" name="Freeform 69">
              <a:extLst>
                <a:ext uri="{FF2B5EF4-FFF2-40B4-BE49-F238E27FC236}">
                  <a16:creationId xmlns:a16="http://schemas.microsoft.com/office/drawing/2014/main" id="{434C6621-2D9D-484B-9417-853444CEA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186" y="3360085"/>
              <a:ext cx="1236662" cy="1268413"/>
            </a:xfrm>
            <a:custGeom>
              <a:avLst/>
              <a:gdLst>
                <a:gd name="T0" fmla="*/ 146 w 496"/>
                <a:gd name="T1" fmla="*/ 36 h 509"/>
                <a:gd name="T2" fmla="*/ 465 w 496"/>
                <a:gd name="T3" fmla="*/ 17 h 509"/>
                <a:gd name="T4" fmla="*/ 476 w 496"/>
                <a:gd name="T5" fmla="*/ 95 h 509"/>
                <a:gd name="T6" fmla="*/ 153 w 496"/>
                <a:gd name="T7" fmla="*/ 491 h 509"/>
                <a:gd name="T8" fmla="*/ 69 w 496"/>
                <a:gd name="T9" fmla="*/ 456 h 509"/>
                <a:gd name="T10" fmla="*/ 344 w 496"/>
                <a:gd name="T11" fmla="*/ 109 h 509"/>
                <a:gd name="T12" fmla="*/ 69 w 496"/>
                <a:gd name="T13" fmla="*/ 73 h 509"/>
                <a:gd name="T14" fmla="*/ 22 w 496"/>
                <a:gd name="T15" fmla="*/ 17 h 509"/>
                <a:gd name="T16" fmla="*/ 146 w 496"/>
                <a:gd name="T17" fmla="*/ 36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6" h="509">
                  <a:moveTo>
                    <a:pt x="146" y="36"/>
                  </a:moveTo>
                  <a:cubicBezTo>
                    <a:pt x="146" y="36"/>
                    <a:pt x="443" y="0"/>
                    <a:pt x="465" y="17"/>
                  </a:cubicBezTo>
                  <a:cubicBezTo>
                    <a:pt x="488" y="33"/>
                    <a:pt x="496" y="67"/>
                    <a:pt x="476" y="95"/>
                  </a:cubicBezTo>
                  <a:cubicBezTo>
                    <a:pt x="455" y="123"/>
                    <a:pt x="169" y="473"/>
                    <a:pt x="153" y="491"/>
                  </a:cubicBezTo>
                  <a:cubicBezTo>
                    <a:pt x="137" y="509"/>
                    <a:pt x="78" y="480"/>
                    <a:pt x="69" y="456"/>
                  </a:cubicBezTo>
                  <a:cubicBezTo>
                    <a:pt x="69" y="456"/>
                    <a:pt x="334" y="136"/>
                    <a:pt x="344" y="109"/>
                  </a:cubicBezTo>
                  <a:cubicBezTo>
                    <a:pt x="344" y="109"/>
                    <a:pt x="97" y="109"/>
                    <a:pt x="69" y="73"/>
                  </a:cubicBezTo>
                  <a:cubicBezTo>
                    <a:pt x="41" y="37"/>
                    <a:pt x="0" y="29"/>
                    <a:pt x="22" y="17"/>
                  </a:cubicBezTo>
                  <a:cubicBezTo>
                    <a:pt x="44" y="4"/>
                    <a:pt x="146" y="36"/>
                    <a:pt x="146" y="36"/>
                  </a:cubicBezTo>
                </a:path>
              </a:pathLst>
            </a:custGeom>
            <a:solidFill>
              <a:srgbClr val="ED3B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89" name="Freeform 70">
              <a:extLst>
                <a:ext uri="{FF2B5EF4-FFF2-40B4-BE49-F238E27FC236}">
                  <a16:creationId xmlns:a16="http://schemas.microsoft.com/office/drawing/2014/main" id="{F7FC5D36-AB0C-42CF-AD7E-6F4BB5342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661" y="4807885"/>
              <a:ext cx="592137" cy="388938"/>
            </a:xfrm>
            <a:custGeom>
              <a:avLst/>
              <a:gdLst>
                <a:gd name="T0" fmla="*/ 102 w 237"/>
                <a:gd name="T1" fmla="*/ 26 h 156"/>
                <a:gd name="T2" fmla="*/ 124 w 237"/>
                <a:gd name="T3" fmla="*/ 83 h 156"/>
                <a:gd name="T4" fmla="*/ 229 w 237"/>
                <a:gd name="T5" fmla="*/ 83 h 156"/>
                <a:gd name="T6" fmla="*/ 236 w 237"/>
                <a:gd name="T7" fmla="*/ 137 h 156"/>
                <a:gd name="T8" fmla="*/ 55 w 237"/>
                <a:gd name="T9" fmla="*/ 137 h 156"/>
                <a:gd name="T10" fmla="*/ 0 w 237"/>
                <a:gd name="T11" fmla="*/ 135 h 156"/>
                <a:gd name="T12" fmla="*/ 21 w 237"/>
                <a:gd name="T13" fmla="*/ 14 h 156"/>
                <a:gd name="T14" fmla="*/ 102 w 237"/>
                <a:gd name="T15" fmla="*/ 2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7" h="156">
                  <a:moveTo>
                    <a:pt x="102" y="26"/>
                  </a:moveTo>
                  <a:cubicBezTo>
                    <a:pt x="102" y="26"/>
                    <a:pt x="114" y="75"/>
                    <a:pt x="124" y="83"/>
                  </a:cubicBezTo>
                  <a:cubicBezTo>
                    <a:pt x="134" y="91"/>
                    <a:pt x="221" y="71"/>
                    <a:pt x="229" y="83"/>
                  </a:cubicBezTo>
                  <a:cubicBezTo>
                    <a:pt x="237" y="95"/>
                    <a:pt x="236" y="137"/>
                    <a:pt x="236" y="137"/>
                  </a:cubicBezTo>
                  <a:cubicBezTo>
                    <a:pt x="236" y="137"/>
                    <a:pt x="77" y="156"/>
                    <a:pt x="55" y="137"/>
                  </a:cubicBezTo>
                  <a:cubicBezTo>
                    <a:pt x="55" y="137"/>
                    <a:pt x="14" y="147"/>
                    <a:pt x="0" y="135"/>
                  </a:cubicBezTo>
                  <a:cubicBezTo>
                    <a:pt x="0" y="135"/>
                    <a:pt x="9" y="29"/>
                    <a:pt x="21" y="14"/>
                  </a:cubicBezTo>
                  <a:cubicBezTo>
                    <a:pt x="33" y="0"/>
                    <a:pt x="102" y="26"/>
                    <a:pt x="102" y="26"/>
                  </a:cubicBezTo>
                </a:path>
              </a:pathLst>
            </a:custGeom>
            <a:solidFill>
              <a:srgbClr val="192E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90" name="Freeform 71">
              <a:extLst>
                <a:ext uri="{FF2B5EF4-FFF2-40B4-BE49-F238E27FC236}">
                  <a16:creationId xmlns:a16="http://schemas.microsoft.com/office/drawing/2014/main" id="{7836406D-5832-4C54-A652-2BCCC17AE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623" y="3379135"/>
              <a:ext cx="1419225" cy="1528763"/>
            </a:xfrm>
            <a:custGeom>
              <a:avLst/>
              <a:gdLst>
                <a:gd name="T0" fmla="*/ 146 w 569"/>
                <a:gd name="T1" fmla="*/ 9 h 613"/>
                <a:gd name="T2" fmla="*/ 210 w 569"/>
                <a:gd name="T3" fmla="*/ 55 h 613"/>
                <a:gd name="T4" fmla="*/ 545 w 569"/>
                <a:gd name="T5" fmla="*/ 79 h 613"/>
                <a:gd name="T6" fmla="*/ 495 w 569"/>
                <a:gd name="T7" fmla="*/ 610 h 613"/>
                <a:gd name="T8" fmla="*/ 374 w 569"/>
                <a:gd name="T9" fmla="*/ 610 h 613"/>
                <a:gd name="T10" fmla="*/ 452 w 569"/>
                <a:gd name="T11" fmla="*/ 170 h 613"/>
                <a:gd name="T12" fmla="*/ 24 w 569"/>
                <a:gd name="T13" fmla="*/ 107 h 613"/>
                <a:gd name="T14" fmla="*/ 6 w 569"/>
                <a:gd name="T15" fmla="*/ 23 h 613"/>
                <a:gd name="T16" fmla="*/ 146 w 569"/>
                <a:gd name="T17" fmla="*/ 9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9" h="613">
                  <a:moveTo>
                    <a:pt x="146" y="9"/>
                  </a:moveTo>
                  <a:cubicBezTo>
                    <a:pt x="146" y="9"/>
                    <a:pt x="181" y="53"/>
                    <a:pt x="210" y="55"/>
                  </a:cubicBezTo>
                  <a:cubicBezTo>
                    <a:pt x="239" y="57"/>
                    <a:pt x="521" y="51"/>
                    <a:pt x="545" y="79"/>
                  </a:cubicBezTo>
                  <a:cubicBezTo>
                    <a:pt x="569" y="107"/>
                    <a:pt x="485" y="551"/>
                    <a:pt x="495" y="610"/>
                  </a:cubicBezTo>
                  <a:cubicBezTo>
                    <a:pt x="495" y="610"/>
                    <a:pt x="388" y="613"/>
                    <a:pt x="374" y="610"/>
                  </a:cubicBezTo>
                  <a:cubicBezTo>
                    <a:pt x="374" y="610"/>
                    <a:pt x="462" y="190"/>
                    <a:pt x="452" y="170"/>
                  </a:cubicBezTo>
                  <a:cubicBezTo>
                    <a:pt x="442" y="150"/>
                    <a:pt x="46" y="129"/>
                    <a:pt x="24" y="107"/>
                  </a:cubicBezTo>
                  <a:cubicBezTo>
                    <a:pt x="2" y="85"/>
                    <a:pt x="0" y="45"/>
                    <a:pt x="6" y="23"/>
                  </a:cubicBezTo>
                  <a:cubicBezTo>
                    <a:pt x="12" y="0"/>
                    <a:pt x="146" y="9"/>
                    <a:pt x="146" y="9"/>
                  </a:cubicBezTo>
                </a:path>
              </a:pathLst>
            </a:custGeom>
            <a:solidFill>
              <a:srgbClr val="F848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91" name="Freeform 72">
              <a:extLst>
                <a:ext uri="{FF2B5EF4-FFF2-40B4-BE49-F238E27FC236}">
                  <a16:creationId xmlns:a16="http://schemas.microsoft.com/office/drawing/2014/main" id="{5A2ECA07-F38A-4BA0-901D-9DABC5A30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023" y="1223309"/>
              <a:ext cx="839787" cy="765175"/>
            </a:xfrm>
            <a:custGeom>
              <a:avLst/>
              <a:gdLst>
                <a:gd name="T0" fmla="*/ 72 w 337"/>
                <a:gd name="T1" fmla="*/ 296 h 307"/>
                <a:gd name="T2" fmla="*/ 29 w 337"/>
                <a:gd name="T3" fmla="*/ 229 h 307"/>
                <a:gd name="T4" fmla="*/ 22 w 337"/>
                <a:gd name="T5" fmla="*/ 122 h 307"/>
                <a:gd name="T6" fmla="*/ 3 w 337"/>
                <a:gd name="T7" fmla="*/ 115 h 307"/>
                <a:gd name="T8" fmla="*/ 22 w 337"/>
                <a:gd name="T9" fmla="*/ 93 h 307"/>
                <a:gd name="T10" fmla="*/ 16 w 337"/>
                <a:gd name="T11" fmla="*/ 62 h 307"/>
                <a:gd name="T12" fmla="*/ 52 w 337"/>
                <a:gd name="T13" fmla="*/ 78 h 307"/>
                <a:gd name="T14" fmla="*/ 210 w 337"/>
                <a:gd name="T15" fmla="*/ 44 h 307"/>
                <a:gd name="T16" fmla="*/ 260 w 337"/>
                <a:gd name="T17" fmla="*/ 39 h 307"/>
                <a:gd name="T18" fmla="*/ 318 w 337"/>
                <a:gd name="T19" fmla="*/ 51 h 307"/>
                <a:gd name="T20" fmla="*/ 306 w 337"/>
                <a:gd name="T21" fmla="*/ 128 h 307"/>
                <a:gd name="T22" fmla="*/ 297 w 337"/>
                <a:gd name="T23" fmla="*/ 248 h 307"/>
                <a:gd name="T24" fmla="*/ 72 w 337"/>
                <a:gd name="T25" fmla="*/ 296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7" h="307">
                  <a:moveTo>
                    <a:pt x="72" y="296"/>
                  </a:moveTo>
                  <a:cubicBezTo>
                    <a:pt x="72" y="296"/>
                    <a:pt x="35" y="253"/>
                    <a:pt x="29" y="229"/>
                  </a:cubicBezTo>
                  <a:cubicBezTo>
                    <a:pt x="22" y="205"/>
                    <a:pt x="22" y="122"/>
                    <a:pt x="22" y="122"/>
                  </a:cubicBezTo>
                  <a:cubicBezTo>
                    <a:pt x="22" y="122"/>
                    <a:pt x="7" y="123"/>
                    <a:pt x="3" y="115"/>
                  </a:cubicBezTo>
                  <a:cubicBezTo>
                    <a:pt x="0" y="107"/>
                    <a:pt x="15" y="90"/>
                    <a:pt x="22" y="93"/>
                  </a:cubicBezTo>
                  <a:cubicBezTo>
                    <a:pt x="22" y="93"/>
                    <a:pt x="6" y="74"/>
                    <a:pt x="16" y="62"/>
                  </a:cubicBezTo>
                  <a:cubicBezTo>
                    <a:pt x="26" y="49"/>
                    <a:pt x="52" y="78"/>
                    <a:pt x="52" y="78"/>
                  </a:cubicBezTo>
                  <a:cubicBezTo>
                    <a:pt x="52" y="78"/>
                    <a:pt x="111" y="22"/>
                    <a:pt x="210" y="44"/>
                  </a:cubicBezTo>
                  <a:cubicBezTo>
                    <a:pt x="210" y="44"/>
                    <a:pt x="242" y="0"/>
                    <a:pt x="260" y="39"/>
                  </a:cubicBezTo>
                  <a:cubicBezTo>
                    <a:pt x="260" y="39"/>
                    <a:pt x="299" y="4"/>
                    <a:pt x="318" y="51"/>
                  </a:cubicBezTo>
                  <a:cubicBezTo>
                    <a:pt x="337" y="98"/>
                    <a:pt x="306" y="128"/>
                    <a:pt x="306" y="128"/>
                  </a:cubicBezTo>
                  <a:cubicBezTo>
                    <a:pt x="306" y="128"/>
                    <a:pt x="330" y="221"/>
                    <a:pt x="297" y="248"/>
                  </a:cubicBezTo>
                  <a:cubicBezTo>
                    <a:pt x="265" y="275"/>
                    <a:pt x="119" y="307"/>
                    <a:pt x="72" y="296"/>
                  </a:cubicBezTo>
                </a:path>
              </a:pathLst>
            </a:custGeom>
            <a:solidFill>
              <a:srgbClr val="4F40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92" name="Freeform 73">
              <a:extLst>
                <a:ext uri="{FF2B5EF4-FFF2-40B4-BE49-F238E27FC236}">
                  <a16:creationId xmlns:a16="http://schemas.microsoft.com/office/drawing/2014/main" id="{4DDB30EE-F8F1-4BB8-86F6-938E5B225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786" y="1567797"/>
              <a:ext cx="509587" cy="755650"/>
            </a:xfrm>
            <a:custGeom>
              <a:avLst/>
              <a:gdLst>
                <a:gd name="T0" fmla="*/ 0 w 204"/>
                <a:gd name="T1" fmla="*/ 65 h 303"/>
                <a:gd name="T2" fmla="*/ 36 w 204"/>
                <a:gd name="T3" fmla="*/ 259 h 303"/>
                <a:gd name="T4" fmla="*/ 148 w 204"/>
                <a:gd name="T5" fmla="*/ 295 h 303"/>
                <a:gd name="T6" fmla="*/ 202 w 204"/>
                <a:gd name="T7" fmla="*/ 216 h 303"/>
                <a:gd name="T8" fmla="*/ 180 w 204"/>
                <a:gd name="T9" fmla="*/ 0 h 303"/>
                <a:gd name="T10" fmla="*/ 149 w 204"/>
                <a:gd name="T11" fmla="*/ 10 h 303"/>
                <a:gd name="T12" fmla="*/ 54 w 204"/>
                <a:gd name="T13" fmla="*/ 10 h 303"/>
                <a:gd name="T14" fmla="*/ 0 w 204"/>
                <a:gd name="T15" fmla="*/ 65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303">
                  <a:moveTo>
                    <a:pt x="0" y="65"/>
                  </a:moveTo>
                  <a:cubicBezTo>
                    <a:pt x="0" y="65"/>
                    <a:pt x="31" y="250"/>
                    <a:pt x="36" y="259"/>
                  </a:cubicBezTo>
                  <a:cubicBezTo>
                    <a:pt x="42" y="268"/>
                    <a:pt x="101" y="303"/>
                    <a:pt x="148" y="295"/>
                  </a:cubicBezTo>
                  <a:cubicBezTo>
                    <a:pt x="195" y="288"/>
                    <a:pt x="204" y="271"/>
                    <a:pt x="202" y="216"/>
                  </a:cubicBezTo>
                  <a:cubicBezTo>
                    <a:pt x="199" y="160"/>
                    <a:pt x="184" y="6"/>
                    <a:pt x="180" y="0"/>
                  </a:cubicBezTo>
                  <a:cubicBezTo>
                    <a:pt x="180" y="0"/>
                    <a:pt x="160" y="12"/>
                    <a:pt x="149" y="10"/>
                  </a:cubicBezTo>
                  <a:cubicBezTo>
                    <a:pt x="139" y="9"/>
                    <a:pt x="63" y="8"/>
                    <a:pt x="54" y="10"/>
                  </a:cubicBezTo>
                  <a:cubicBezTo>
                    <a:pt x="45" y="12"/>
                    <a:pt x="0" y="65"/>
                    <a:pt x="0" y="65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93" name="Freeform 74">
              <a:extLst>
                <a:ext uri="{FF2B5EF4-FFF2-40B4-BE49-F238E27FC236}">
                  <a16:creationId xmlns:a16="http://schemas.microsoft.com/office/drawing/2014/main" id="{12677F2F-5AD1-4CCE-B218-E776D133D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1186" y="1883709"/>
              <a:ext cx="188912" cy="282575"/>
            </a:xfrm>
            <a:custGeom>
              <a:avLst/>
              <a:gdLst>
                <a:gd name="T0" fmla="*/ 76 w 76"/>
                <a:gd name="T1" fmla="*/ 38 h 113"/>
                <a:gd name="T2" fmla="*/ 24 w 76"/>
                <a:gd name="T3" fmla="*/ 5 h 113"/>
                <a:gd name="T4" fmla="*/ 10 w 76"/>
                <a:gd name="T5" fmla="*/ 66 h 113"/>
                <a:gd name="T6" fmla="*/ 76 w 76"/>
                <a:gd name="T7" fmla="*/ 3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113">
                  <a:moveTo>
                    <a:pt x="76" y="38"/>
                  </a:moveTo>
                  <a:cubicBezTo>
                    <a:pt x="76" y="38"/>
                    <a:pt x="48" y="0"/>
                    <a:pt x="24" y="5"/>
                  </a:cubicBezTo>
                  <a:cubicBezTo>
                    <a:pt x="0" y="10"/>
                    <a:pt x="3" y="52"/>
                    <a:pt x="10" y="66"/>
                  </a:cubicBezTo>
                  <a:cubicBezTo>
                    <a:pt x="18" y="80"/>
                    <a:pt x="75" y="113"/>
                    <a:pt x="76" y="38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94" name="Freeform 75">
              <a:extLst>
                <a:ext uri="{FF2B5EF4-FFF2-40B4-BE49-F238E27FC236}">
                  <a16:creationId xmlns:a16="http://schemas.microsoft.com/office/drawing/2014/main" id="{0760A39A-5FAA-4DB7-9646-7A1595CA0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9336" y="1894822"/>
              <a:ext cx="104775" cy="153988"/>
            </a:xfrm>
            <a:custGeom>
              <a:avLst/>
              <a:gdLst>
                <a:gd name="T0" fmla="*/ 4 w 42"/>
                <a:gd name="T1" fmla="*/ 0 h 62"/>
                <a:gd name="T2" fmla="*/ 8 w 42"/>
                <a:gd name="T3" fmla="*/ 26 h 62"/>
                <a:gd name="T4" fmla="*/ 38 w 42"/>
                <a:gd name="T5" fmla="*/ 29 h 62"/>
                <a:gd name="T6" fmla="*/ 38 w 42"/>
                <a:gd name="T7" fmla="*/ 56 h 62"/>
                <a:gd name="T8" fmla="*/ 4 w 42"/>
                <a:gd name="T9" fmla="*/ 60 h 62"/>
                <a:gd name="T10" fmla="*/ 35 w 42"/>
                <a:gd name="T11" fmla="*/ 51 h 62"/>
                <a:gd name="T12" fmla="*/ 32 w 42"/>
                <a:gd name="T13" fmla="*/ 30 h 62"/>
                <a:gd name="T14" fmla="*/ 4 w 42"/>
                <a:gd name="T15" fmla="*/ 30 h 62"/>
                <a:gd name="T16" fmla="*/ 4 w 42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62">
                  <a:moveTo>
                    <a:pt x="4" y="0"/>
                  </a:moveTo>
                  <a:cubicBezTo>
                    <a:pt x="4" y="0"/>
                    <a:pt x="4" y="27"/>
                    <a:pt x="8" y="26"/>
                  </a:cubicBezTo>
                  <a:cubicBezTo>
                    <a:pt x="13" y="25"/>
                    <a:pt x="34" y="25"/>
                    <a:pt x="38" y="29"/>
                  </a:cubicBezTo>
                  <a:cubicBezTo>
                    <a:pt x="42" y="34"/>
                    <a:pt x="41" y="54"/>
                    <a:pt x="38" y="56"/>
                  </a:cubicBezTo>
                  <a:cubicBezTo>
                    <a:pt x="35" y="58"/>
                    <a:pt x="15" y="62"/>
                    <a:pt x="4" y="60"/>
                  </a:cubicBezTo>
                  <a:cubicBezTo>
                    <a:pt x="4" y="60"/>
                    <a:pt x="34" y="54"/>
                    <a:pt x="35" y="51"/>
                  </a:cubicBezTo>
                  <a:cubicBezTo>
                    <a:pt x="35" y="48"/>
                    <a:pt x="35" y="30"/>
                    <a:pt x="32" y="30"/>
                  </a:cubicBezTo>
                  <a:cubicBezTo>
                    <a:pt x="29" y="31"/>
                    <a:pt x="9" y="34"/>
                    <a:pt x="4" y="30"/>
                  </a:cubicBezTo>
                  <a:cubicBezTo>
                    <a:pt x="0" y="27"/>
                    <a:pt x="3" y="5"/>
                    <a:pt x="4" y="0"/>
                  </a:cubicBezTo>
                </a:path>
              </a:pathLst>
            </a:custGeom>
            <a:solidFill>
              <a:srgbClr val="D2A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95" name="Freeform 76">
              <a:extLst>
                <a:ext uri="{FF2B5EF4-FFF2-40B4-BE49-F238E27FC236}">
                  <a16:creationId xmlns:a16="http://schemas.microsoft.com/office/drawing/2014/main" id="{552D6C38-D400-4DD3-BCFB-B97E637EE7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5986" y="2109134"/>
              <a:ext cx="228600" cy="79375"/>
            </a:xfrm>
            <a:custGeom>
              <a:avLst/>
              <a:gdLst>
                <a:gd name="T0" fmla="*/ 0 w 92"/>
                <a:gd name="T1" fmla="*/ 0 h 32"/>
                <a:gd name="T2" fmla="*/ 92 w 92"/>
                <a:gd name="T3" fmla="*/ 4 h 32"/>
                <a:gd name="T4" fmla="*/ 0 w 92"/>
                <a:gd name="T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32">
                  <a:moveTo>
                    <a:pt x="0" y="0"/>
                  </a:moveTo>
                  <a:cubicBezTo>
                    <a:pt x="0" y="0"/>
                    <a:pt x="52" y="19"/>
                    <a:pt x="92" y="4"/>
                  </a:cubicBezTo>
                  <a:cubicBezTo>
                    <a:pt x="92" y="4"/>
                    <a:pt x="37" y="32"/>
                    <a:pt x="0" y="0"/>
                  </a:cubicBezTo>
                </a:path>
              </a:pathLst>
            </a:custGeom>
            <a:solidFill>
              <a:srgbClr val="7F45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96" name="Freeform 77">
              <a:extLst>
                <a:ext uri="{FF2B5EF4-FFF2-40B4-BE49-F238E27FC236}">
                  <a16:creationId xmlns:a16="http://schemas.microsoft.com/office/drawing/2014/main" id="{CDA8831B-B016-4B18-A4E0-41AAB7DCE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86" y="1869422"/>
              <a:ext cx="39687" cy="65088"/>
            </a:xfrm>
            <a:custGeom>
              <a:avLst/>
              <a:gdLst>
                <a:gd name="T0" fmla="*/ 15 w 16"/>
                <a:gd name="T1" fmla="*/ 12 h 26"/>
                <a:gd name="T2" fmla="*/ 9 w 16"/>
                <a:gd name="T3" fmla="*/ 25 h 26"/>
                <a:gd name="T4" fmla="*/ 1 w 16"/>
                <a:gd name="T5" fmla="*/ 14 h 26"/>
                <a:gd name="T6" fmla="*/ 7 w 16"/>
                <a:gd name="T7" fmla="*/ 1 h 26"/>
                <a:gd name="T8" fmla="*/ 15 w 16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6">
                  <a:moveTo>
                    <a:pt x="15" y="12"/>
                  </a:moveTo>
                  <a:cubicBezTo>
                    <a:pt x="16" y="19"/>
                    <a:pt x="13" y="25"/>
                    <a:pt x="9" y="25"/>
                  </a:cubicBezTo>
                  <a:cubicBezTo>
                    <a:pt x="5" y="26"/>
                    <a:pt x="1" y="21"/>
                    <a:pt x="1" y="14"/>
                  </a:cubicBezTo>
                  <a:cubicBezTo>
                    <a:pt x="0" y="7"/>
                    <a:pt x="3" y="1"/>
                    <a:pt x="7" y="1"/>
                  </a:cubicBezTo>
                  <a:cubicBezTo>
                    <a:pt x="11" y="0"/>
                    <a:pt x="15" y="6"/>
                    <a:pt x="15" y="12"/>
                  </a:cubicBezTo>
                </a:path>
              </a:pathLst>
            </a:custGeom>
            <a:solidFill>
              <a:srgbClr val="1314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97" name="Freeform 78">
              <a:extLst>
                <a:ext uri="{FF2B5EF4-FFF2-40B4-BE49-F238E27FC236}">
                  <a16:creationId xmlns:a16="http://schemas.microsoft.com/office/drawing/2014/main" id="{AF091793-4C94-422F-A124-DFA092AA9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2836" y="1839259"/>
              <a:ext cx="39687" cy="61913"/>
            </a:xfrm>
            <a:custGeom>
              <a:avLst/>
              <a:gdLst>
                <a:gd name="T0" fmla="*/ 15 w 16"/>
                <a:gd name="T1" fmla="*/ 12 h 25"/>
                <a:gd name="T2" fmla="*/ 9 w 16"/>
                <a:gd name="T3" fmla="*/ 25 h 25"/>
                <a:gd name="T4" fmla="*/ 1 w 16"/>
                <a:gd name="T5" fmla="*/ 14 h 25"/>
                <a:gd name="T6" fmla="*/ 7 w 16"/>
                <a:gd name="T7" fmla="*/ 1 h 25"/>
                <a:gd name="T8" fmla="*/ 15 w 16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5">
                  <a:moveTo>
                    <a:pt x="15" y="12"/>
                  </a:moveTo>
                  <a:cubicBezTo>
                    <a:pt x="16" y="19"/>
                    <a:pt x="13" y="25"/>
                    <a:pt x="9" y="25"/>
                  </a:cubicBezTo>
                  <a:cubicBezTo>
                    <a:pt x="5" y="25"/>
                    <a:pt x="1" y="20"/>
                    <a:pt x="1" y="14"/>
                  </a:cubicBezTo>
                  <a:cubicBezTo>
                    <a:pt x="0" y="7"/>
                    <a:pt x="3" y="1"/>
                    <a:pt x="7" y="1"/>
                  </a:cubicBezTo>
                  <a:cubicBezTo>
                    <a:pt x="11" y="0"/>
                    <a:pt x="15" y="5"/>
                    <a:pt x="15" y="12"/>
                  </a:cubicBezTo>
                </a:path>
              </a:pathLst>
            </a:custGeom>
            <a:solidFill>
              <a:srgbClr val="1314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98" name="Freeform 79">
              <a:extLst>
                <a:ext uri="{FF2B5EF4-FFF2-40B4-BE49-F238E27FC236}">
                  <a16:creationId xmlns:a16="http://schemas.microsoft.com/office/drawing/2014/main" id="{6D1E1485-19A9-4D26-AA8B-6A9541888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023" y="1678922"/>
              <a:ext cx="122237" cy="76200"/>
            </a:xfrm>
            <a:custGeom>
              <a:avLst/>
              <a:gdLst>
                <a:gd name="T0" fmla="*/ 47 w 49"/>
                <a:gd name="T1" fmla="*/ 9 h 30"/>
                <a:gd name="T2" fmla="*/ 0 w 49"/>
                <a:gd name="T3" fmla="*/ 30 h 30"/>
                <a:gd name="T4" fmla="*/ 47 w 49"/>
                <a:gd name="T5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30">
                  <a:moveTo>
                    <a:pt x="47" y="9"/>
                  </a:moveTo>
                  <a:cubicBezTo>
                    <a:pt x="49" y="9"/>
                    <a:pt x="13" y="0"/>
                    <a:pt x="0" y="30"/>
                  </a:cubicBezTo>
                  <a:cubicBezTo>
                    <a:pt x="0" y="30"/>
                    <a:pt x="36" y="11"/>
                    <a:pt x="47" y="9"/>
                  </a:cubicBezTo>
                </a:path>
              </a:pathLst>
            </a:custGeom>
            <a:solidFill>
              <a:srgbClr val="4F40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299" name="Freeform 80">
              <a:extLst>
                <a:ext uri="{FF2B5EF4-FFF2-40B4-BE49-F238E27FC236}">
                  <a16:creationId xmlns:a16="http://schemas.microsoft.com/office/drawing/2014/main" id="{7FB3A126-22EC-4BD1-A1C7-885D13182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0448" y="1643997"/>
              <a:ext cx="92075" cy="68263"/>
            </a:xfrm>
            <a:custGeom>
              <a:avLst/>
              <a:gdLst>
                <a:gd name="T0" fmla="*/ 2 w 37"/>
                <a:gd name="T1" fmla="*/ 14 h 27"/>
                <a:gd name="T2" fmla="*/ 37 w 37"/>
                <a:gd name="T3" fmla="*/ 27 h 27"/>
                <a:gd name="T4" fmla="*/ 2 w 37"/>
                <a:gd name="T5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" h="27">
                  <a:moveTo>
                    <a:pt x="2" y="14"/>
                  </a:moveTo>
                  <a:cubicBezTo>
                    <a:pt x="0" y="14"/>
                    <a:pt x="25" y="0"/>
                    <a:pt x="37" y="27"/>
                  </a:cubicBezTo>
                  <a:cubicBezTo>
                    <a:pt x="37" y="27"/>
                    <a:pt x="24" y="14"/>
                    <a:pt x="2" y="14"/>
                  </a:cubicBezTo>
                </a:path>
              </a:pathLst>
            </a:custGeom>
            <a:solidFill>
              <a:srgbClr val="4F40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00" name="Freeform 81">
              <a:extLst>
                <a:ext uri="{FF2B5EF4-FFF2-40B4-BE49-F238E27FC236}">
                  <a16:creationId xmlns:a16="http://schemas.microsoft.com/office/drawing/2014/main" id="{C29A5E41-667C-46FC-B62E-5FCD8BEEE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5836" y="2586972"/>
              <a:ext cx="298450" cy="547688"/>
            </a:xfrm>
            <a:custGeom>
              <a:avLst/>
              <a:gdLst>
                <a:gd name="T0" fmla="*/ 49 w 120"/>
                <a:gd name="T1" fmla="*/ 42 h 220"/>
                <a:gd name="T2" fmla="*/ 103 w 120"/>
                <a:gd name="T3" fmla="*/ 186 h 220"/>
                <a:gd name="T4" fmla="*/ 61 w 120"/>
                <a:gd name="T5" fmla="*/ 217 h 220"/>
                <a:gd name="T6" fmla="*/ 4 w 120"/>
                <a:gd name="T7" fmla="*/ 67 h 220"/>
                <a:gd name="T8" fmla="*/ 49 w 120"/>
                <a:gd name="T9" fmla="*/ 4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220">
                  <a:moveTo>
                    <a:pt x="49" y="42"/>
                  </a:moveTo>
                  <a:cubicBezTo>
                    <a:pt x="49" y="42"/>
                    <a:pt x="86" y="153"/>
                    <a:pt x="103" y="186"/>
                  </a:cubicBezTo>
                  <a:cubicBezTo>
                    <a:pt x="120" y="220"/>
                    <a:pt x="61" y="217"/>
                    <a:pt x="61" y="217"/>
                  </a:cubicBezTo>
                  <a:cubicBezTo>
                    <a:pt x="61" y="217"/>
                    <a:pt x="7" y="98"/>
                    <a:pt x="4" y="67"/>
                  </a:cubicBezTo>
                  <a:cubicBezTo>
                    <a:pt x="0" y="37"/>
                    <a:pt x="34" y="0"/>
                    <a:pt x="49" y="42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01" name="Freeform 82">
              <a:extLst>
                <a:ext uri="{FF2B5EF4-FFF2-40B4-BE49-F238E27FC236}">
                  <a16:creationId xmlns:a16="http://schemas.microsoft.com/office/drawing/2014/main" id="{7CE5BE58-4E73-4630-A20C-448C8A630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498" y="2294872"/>
              <a:ext cx="411162" cy="230188"/>
            </a:xfrm>
            <a:custGeom>
              <a:avLst/>
              <a:gdLst>
                <a:gd name="T0" fmla="*/ 9 w 165"/>
                <a:gd name="T1" fmla="*/ 29 h 92"/>
                <a:gd name="T2" fmla="*/ 96 w 165"/>
                <a:gd name="T3" fmla="*/ 88 h 92"/>
                <a:gd name="T4" fmla="*/ 129 w 165"/>
                <a:gd name="T5" fmla="*/ 14 h 92"/>
                <a:gd name="T6" fmla="*/ 87 w 165"/>
                <a:gd name="T7" fmla="*/ 5 h 92"/>
                <a:gd name="T8" fmla="*/ 9 w 165"/>
                <a:gd name="T9" fmla="*/ 2 h 92"/>
                <a:gd name="T10" fmla="*/ 9 w 165"/>
                <a:gd name="T11" fmla="*/ 2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92">
                  <a:moveTo>
                    <a:pt x="9" y="29"/>
                  </a:moveTo>
                  <a:cubicBezTo>
                    <a:pt x="20" y="49"/>
                    <a:pt x="67" y="92"/>
                    <a:pt x="96" y="88"/>
                  </a:cubicBezTo>
                  <a:cubicBezTo>
                    <a:pt x="126" y="84"/>
                    <a:pt x="165" y="66"/>
                    <a:pt x="129" y="14"/>
                  </a:cubicBezTo>
                  <a:cubicBezTo>
                    <a:pt x="115" y="11"/>
                    <a:pt x="101" y="7"/>
                    <a:pt x="87" y="5"/>
                  </a:cubicBezTo>
                  <a:cubicBezTo>
                    <a:pt x="62" y="0"/>
                    <a:pt x="34" y="0"/>
                    <a:pt x="9" y="2"/>
                  </a:cubicBezTo>
                  <a:cubicBezTo>
                    <a:pt x="7" y="4"/>
                    <a:pt x="0" y="12"/>
                    <a:pt x="9" y="29"/>
                  </a:cubicBezTo>
                </a:path>
              </a:pathLst>
            </a:custGeom>
            <a:solidFill>
              <a:srgbClr val="506A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02" name="Freeform 83">
              <a:extLst>
                <a:ext uri="{FF2B5EF4-FFF2-40B4-BE49-F238E27FC236}">
                  <a16:creationId xmlns:a16="http://schemas.microsoft.com/office/drawing/2014/main" id="{65108C1C-29C5-4059-BD91-423C53D3B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786" y="2299634"/>
              <a:ext cx="931862" cy="1235075"/>
            </a:xfrm>
            <a:custGeom>
              <a:avLst/>
              <a:gdLst>
                <a:gd name="T0" fmla="*/ 338 w 374"/>
                <a:gd name="T1" fmla="*/ 35 h 495"/>
                <a:gd name="T2" fmla="*/ 276 w 374"/>
                <a:gd name="T3" fmla="*/ 12 h 495"/>
                <a:gd name="T4" fmla="*/ 243 w 374"/>
                <a:gd name="T5" fmla="*/ 86 h 495"/>
                <a:gd name="T6" fmla="*/ 156 w 374"/>
                <a:gd name="T7" fmla="*/ 27 h 495"/>
                <a:gd name="T8" fmla="*/ 156 w 374"/>
                <a:gd name="T9" fmla="*/ 0 h 495"/>
                <a:gd name="T10" fmla="*/ 75 w 374"/>
                <a:gd name="T11" fmla="*/ 15 h 495"/>
                <a:gd name="T12" fmla="*/ 6 w 374"/>
                <a:gd name="T13" fmla="*/ 170 h 495"/>
                <a:gd name="T14" fmla="*/ 86 w 374"/>
                <a:gd name="T15" fmla="*/ 207 h 495"/>
                <a:gd name="T16" fmla="*/ 68 w 374"/>
                <a:gd name="T17" fmla="*/ 332 h 495"/>
                <a:gd name="T18" fmla="*/ 86 w 374"/>
                <a:gd name="T19" fmla="*/ 495 h 495"/>
                <a:gd name="T20" fmla="*/ 325 w 374"/>
                <a:gd name="T21" fmla="*/ 458 h 495"/>
                <a:gd name="T22" fmla="*/ 288 w 374"/>
                <a:gd name="T23" fmla="*/ 359 h 495"/>
                <a:gd name="T24" fmla="*/ 326 w 374"/>
                <a:gd name="T25" fmla="*/ 174 h 495"/>
                <a:gd name="T26" fmla="*/ 374 w 374"/>
                <a:gd name="T27" fmla="*/ 165 h 495"/>
                <a:gd name="T28" fmla="*/ 338 w 374"/>
                <a:gd name="T29" fmla="*/ 3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74" h="495">
                  <a:moveTo>
                    <a:pt x="338" y="35"/>
                  </a:moveTo>
                  <a:cubicBezTo>
                    <a:pt x="334" y="29"/>
                    <a:pt x="307" y="20"/>
                    <a:pt x="276" y="12"/>
                  </a:cubicBezTo>
                  <a:cubicBezTo>
                    <a:pt x="312" y="64"/>
                    <a:pt x="273" y="82"/>
                    <a:pt x="243" y="86"/>
                  </a:cubicBezTo>
                  <a:cubicBezTo>
                    <a:pt x="214" y="90"/>
                    <a:pt x="167" y="47"/>
                    <a:pt x="156" y="27"/>
                  </a:cubicBezTo>
                  <a:cubicBezTo>
                    <a:pt x="147" y="10"/>
                    <a:pt x="154" y="2"/>
                    <a:pt x="156" y="0"/>
                  </a:cubicBezTo>
                  <a:cubicBezTo>
                    <a:pt x="111" y="4"/>
                    <a:pt x="75" y="15"/>
                    <a:pt x="75" y="15"/>
                  </a:cubicBezTo>
                  <a:cubicBezTo>
                    <a:pt x="62" y="24"/>
                    <a:pt x="0" y="164"/>
                    <a:pt x="6" y="170"/>
                  </a:cubicBezTo>
                  <a:cubicBezTo>
                    <a:pt x="16" y="183"/>
                    <a:pt x="86" y="207"/>
                    <a:pt x="86" y="207"/>
                  </a:cubicBezTo>
                  <a:cubicBezTo>
                    <a:pt x="86" y="207"/>
                    <a:pt x="61" y="287"/>
                    <a:pt x="68" y="332"/>
                  </a:cubicBezTo>
                  <a:cubicBezTo>
                    <a:pt x="71" y="351"/>
                    <a:pt x="86" y="495"/>
                    <a:pt x="86" y="495"/>
                  </a:cubicBezTo>
                  <a:cubicBezTo>
                    <a:pt x="162" y="430"/>
                    <a:pt x="325" y="458"/>
                    <a:pt x="325" y="458"/>
                  </a:cubicBezTo>
                  <a:cubicBezTo>
                    <a:pt x="325" y="458"/>
                    <a:pt x="292" y="386"/>
                    <a:pt x="288" y="359"/>
                  </a:cubicBezTo>
                  <a:cubicBezTo>
                    <a:pt x="284" y="333"/>
                    <a:pt x="326" y="174"/>
                    <a:pt x="326" y="174"/>
                  </a:cubicBezTo>
                  <a:cubicBezTo>
                    <a:pt x="326" y="174"/>
                    <a:pt x="374" y="179"/>
                    <a:pt x="374" y="165"/>
                  </a:cubicBezTo>
                  <a:cubicBezTo>
                    <a:pt x="374" y="151"/>
                    <a:pt x="345" y="42"/>
                    <a:pt x="338" y="35"/>
                  </a:cubicBezTo>
                </a:path>
              </a:pathLst>
            </a:custGeom>
            <a:solidFill>
              <a:srgbClr val="405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03" name="Freeform 84">
              <a:extLst>
                <a:ext uri="{FF2B5EF4-FFF2-40B4-BE49-F238E27FC236}">
                  <a16:creationId xmlns:a16="http://schemas.microsoft.com/office/drawing/2014/main" id="{2ECC01B2-03CC-4A18-B758-11A85CC8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0711" y="2091672"/>
              <a:ext cx="319087" cy="393700"/>
            </a:xfrm>
            <a:custGeom>
              <a:avLst/>
              <a:gdLst>
                <a:gd name="T0" fmla="*/ 128 w 128"/>
                <a:gd name="T1" fmla="*/ 63 h 158"/>
                <a:gd name="T2" fmla="*/ 97 w 128"/>
                <a:gd name="T3" fmla="*/ 106 h 158"/>
                <a:gd name="T4" fmla="*/ 84 w 128"/>
                <a:gd name="T5" fmla="*/ 149 h 158"/>
                <a:gd name="T6" fmla="*/ 6 w 128"/>
                <a:gd name="T7" fmla="*/ 87 h 158"/>
                <a:gd name="T8" fmla="*/ 52 w 128"/>
                <a:gd name="T9" fmla="*/ 79 h 158"/>
                <a:gd name="T10" fmla="*/ 67 w 128"/>
                <a:gd name="T11" fmla="*/ 21 h 158"/>
                <a:gd name="T12" fmla="*/ 128 w 128"/>
                <a:gd name="T13" fmla="*/ 63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158">
                  <a:moveTo>
                    <a:pt x="128" y="63"/>
                  </a:moveTo>
                  <a:cubicBezTo>
                    <a:pt x="128" y="63"/>
                    <a:pt x="104" y="89"/>
                    <a:pt x="97" y="106"/>
                  </a:cubicBezTo>
                  <a:cubicBezTo>
                    <a:pt x="97" y="106"/>
                    <a:pt x="126" y="140"/>
                    <a:pt x="84" y="149"/>
                  </a:cubicBezTo>
                  <a:cubicBezTo>
                    <a:pt x="42" y="158"/>
                    <a:pt x="0" y="102"/>
                    <a:pt x="6" y="87"/>
                  </a:cubicBezTo>
                  <a:cubicBezTo>
                    <a:pt x="6" y="87"/>
                    <a:pt x="42" y="84"/>
                    <a:pt x="52" y="79"/>
                  </a:cubicBezTo>
                  <a:cubicBezTo>
                    <a:pt x="62" y="74"/>
                    <a:pt x="67" y="21"/>
                    <a:pt x="67" y="21"/>
                  </a:cubicBezTo>
                  <a:cubicBezTo>
                    <a:pt x="67" y="21"/>
                    <a:pt x="109" y="0"/>
                    <a:pt x="128" y="63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04" name="Freeform 85">
              <a:extLst>
                <a:ext uri="{FF2B5EF4-FFF2-40B4-BE49-F238E27FC236}">
                  <a16:creationId xmlns:a16="http://schemas.microsoft.com/office/drawing/2014/main" id="{D5988D18-9697-4DDC-AD45-EEF0C7DE3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5411" y="2736197"/>
              <a:ext cx="704850" cy="466725"/>
            </a:xfrm>
            <a:custGeom>
              <a:avLst/>
              <a:gdLst>
                <a:gd name="T0" fmla="*/ 108 w 283"/>
                <a:gd name="T1" fmla="*/ 29 h 187"/>
                <a:gd name="T2" fmla="*/ 87 w 283"/>
                <a:gd name="T3" fmla="*/ 115 h 187"/>
                <a:gd name="T4" fmla="*/ 260 w 283"/>
                <a:gd name="T5" fmla="*/ 135 h 187"/>
                <a:gd name="T6" fmla="*/ 255 w 283"/>
                <a:gd name="T7" fmla="*/ 177 h 187"/>
                <a:gd name="T8" fmla="*/ 16 w 283"/>
                <a:gd name="T9" fmla="*/ 173 h 187"/>
                <a:gd name="T10" fmla="*/ 43 w 283"/>
                <a:gd name="T11" fmla="*/ 0 h 187"/>
                <a:gd name="T12" fmla="*/ 108 w 283"/>
                <a:gd name="T13" fmla="*/ 29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" h="187">
                  <a:moveTo>
                    <a:pt x="108" y="29"/>
                  </a:moveTo>
                  <a:cubicBezTo>
                    <a:pt x="108" y="29"/>
                    <a:pt x="83" y="104"/>
                    <a:pt x="87" y="115"/>
                  </a:cubicBezTo>
                  <a:cubicBezTo>
                    <a:pt x="91" y="125"/>
                    <a:pt x="237" y="136"/>
                    <a:pt x="260" y="135"/>
                  </a:cubicBezTo>
                  <a:cubicBezTo>
                    <a:pt x="283" y="134"/>
                    <a:pt x="279" y="172"/>
                    <a:pt x="255" y="177"/>
                  </a:cubicBezTo>
                  <a:cubicBezTo>
                    <a:pt x="231" y="182"/>
                    <a:pt x="33" y="187"/>
                    <a:pt x="16" y="173"/>
                  </a:cubicBezTo>
                  <a:cubicBezTo>
                    <a:pt x="0" y="159"/>
                    <a:pt x="38" y="13"/>
                    <a:pt x="43" y="0"/>
                  </a:cubicBezTo>
                  <a:cubicBezTo>
                    <a:pt x="68" y="12"/>
                    <a:pt x="75" y="14"/>
                    <a:pt x="108" y="29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05" name="Freeform 86">
              <a:extLst>
                <a:ext uri="{FF2B5EF4-FFF2-40B4-BE49-F238E27FC236}">
                  <a16:creationId xmlns:a16="http://schemas.microsoft.com/office/drawing/2014/main" id="{0DBDA0C2-44C2-4E2C-B782-3013C0185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3761" y="2928284"/>
              <a:ext cx="201612" cy="144463"/>
            </a:xfrm>
            <a:custGeom>
              <a:avLst/>
              <a:gdLst>
                <a:gd name="T0" fmla="*/ 0 w 81"/>
                <a:gd name="T1" fmla="*/ 42 h 58"/>
                <a:gd name="T2" fmla="*/ 29 w 81"/>
                <a:gd name="T3" fmla="*/ 8 h 58"/>
                <a:gd name="T4" fmla="*/ 50 w 81"/>
                <a:gd name="T5" fmla="*/ 0 h 58"/>
                <a:gd name="T6" fmla="*/ 67 w 81"/>
                <a:gd name="T7" fmla="*/ 17 h 58"/>
                <a:gd name="T8" fmla="*/ 67 w 81"/>
                <a:gd name="T9" fmla="*/ 53 h 58"/>
                <a:gd name="T10" fmla="*/ 37 w 81"/>
                <a:gd name="T11" fmla="*/ 31 h 58"/>
                <a:gd name="T12" fmla="*/ 21 w 81"/>
                <a:gd name="T13" fmla="*/ 45 h 58"/>
                <a:gd name="T14" fmla="*/ 0 w 81"/>
                <a:gd name="T15" fmla="*/ 4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58">
                  <a:moveTo>
                    <a:pt x="0" y="42"/>
                  </a:moveTo>
                  <a:cubicBezTo>
                    <a:pt x="0" y="42"/>
                    <a:pt x="21" y="15"/>
                    <a:pt x="29" y="8"/>
                  </a:cubicBezTo>
                  <a:cubicBezTo>
                    <a:pt x="37" y="1"/>
                    <a:pt x="50" y="0"/>
                    <a:pt x="50" y="0"/>
                  </a:cubicBezTo>
                  <a:cubicBezTo>
                    <a:pt x="50" y="0"/>
                    <a:pt x="65" y="9"/>
                    <a:pt x="67" y="17"/>
                  </a:cubicBezTo>
                  <a:cubicBezTo>
                    <a:pt x="70" y="25"/>
                    <a:pt x="81" y="48"/>
                    <a:pt x="67" y="53"/>
                  </a:cubicBezTo>
                  <a:cubicBezTo>
                    <a:pt x="54" y="58"/>
                    <a:pt x="37" y="31"/>
                    <a:pt x="37" y="31"/>
                  </a:cubicBezTo>
                  <a:cubicBezTo>
                    <a:pt x="37" y="31"/>
                    <a:pt x="24" y="38"/>
                    <a:pt x="21" y="45"/>
                  </a:cubicBezTo>
                  <a:cubicBezTo>
                    <a:pt x="17" y="51"/>
                    <a:pt x="0" y="42"/>
                    <a:pt x="0" y="42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06" name="Freeform 87">
              <a:extLst>
                <a:ext uri="{FF2B5EF4-FFF2-40B4-BE49-F238E27FC236}">
                  <a16:creationId xmlns:a16="http://schemas.microsoft.com/office/drawing/2014/main" id="{458F034E-09B5-4024-BCD9-560319DD7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8823" y="3036234"/>
              <a:ext cx="363537" cy="115888"/>
            </a:xfrm>
            <a:custGeom>
              <a:avLst/>
              <a:gdLst>
                <a:gd name="T0" fmla="*/ 0 w 146"/>
                <a:gd name="T1" fmla="*/ 27 h 47"/>
                <a:gd name="T2" fmla="*/ 78 w 146"/>
                <a:gd name="T3" fmla="*/ 6 h 47"/>
                <a:gd name="T4" fmla="*/ 125 w 146"/>
                <a:gd name="T5" fmla="*/ 16 h 47"/>
                <a:gd name="T6" fmla="*/ 145 w 146"/>
                <a:gd name="T7" fmla="*/ 27 h 47"/>
                <a:gd name="T8" fmla="*/ 0 w 146"/>
                <a:gd name="T9" fmla="*/ 2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47">
                  <a:moveTo>
                    <a:pt x="0" y="27"/>
                  </a:moveTo>
                  <a:cubicBezTo>
                    <a:pt x="0" y="27"/>
                    <a:pt x="62" y="0"/>
                    <a:pt x="78" y="6"/>
                  </a:cubicBezTo>
                  <a:cubicBezTo>
                    <a:pt x="95" y="12"/>
                    <a:pt x="114" y="15"/>
                    <a:pt x="125" y="16"/>
                  </a:cubicBezTo>
                  <a:cubicBezTo>
                    <a:pt x="135" y="17"/>
                    <a:pt x="143" y="28"/>
                    <a:pt x="145" y="27"/>
                  </a:cubicBezTo>
                  <a:cubicBezTo>
                    <a:pt x="146" y="25"/>
                    <a:pt x="21" y="47"/>
                    <a:pt x="0" y="27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07" name="Freeform 88">
              <a:extLst>
                <a:ext uri="{FF2B5EF4-FFF2-40B4-BE49-F238E27FC236}">
                  <a16:creationId xmlns:a16="http://schemas.microsoft.com/office/drawing/2014/main" id="{7DBEAD46-4D78-40C6-A12E-444432B89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3111" y="2983847"/>
              <a:ext cx="223837" cy="133350"/>
            </a:xfrm>
            <a:custGeom>
              <a:avLst/>
              <a:gdLst>
                <a:gd name="T0" fmla="*/ 0 w 90"/>
                <a:gd name="T1" fmla="*/ 36 h 54"/>
                <a:gd name="T2" fmla="*/ 41 w 90"/>
                <a:gd name="T3" fmla="*/ 24 h 54"/>
                <a:gd name="T4" fmla="*/ 77 w 90"/>
                <a:gd name="T5" fmla="*/ 2 h 54"/>
                <a:gd name="T6" fmla="*/ 89 w 90"/>
                <a:gd name="T7" fmla="*/ 29 h 54"/>
                <a:gd name="T8" fmla="*/ 72 w 90"/>
                <a:gd name="T9" fmla="*/ 51 h 54"/>
                <a:gd name="T10" fmla="*/ 63 w 90"/>
                <a:gd name="T11" fmla="*/ 34 h 54"/>
                <a:gd name="T12" fmla="*/ 12 w 90"/>
                <a:gd name="T13" fmla="*/ 51 h 54"/>
                <a:gd name="T14" fmla="*/ 0 w 90"/>
                <a:gd name="T15" fmla="*/ 3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54">
                  <a:moveTo>
                    <a:pt x="0" y="36"/>
                  </a:moveTo>
                  <a:cubicBezTo>
                    <a:pt x="4" y="36"/>
                    <a:pt x="32" y="29"/>
                    <a:pt x="41" y="24"/>
                  </a:cubicBezTo>
                  <a:cubicBezTo>
                    <a:pt x="50" y="19"/>
                    <a:pt x="71" y="0"/>
                    <a:pt x="77" y="2"/>
                  </a:cubicBezTo>
                  <a:cubicBezTo>
                    <a:pt x="82" y="4"/>
                    <a:pt x="87" y="13"/>
                    <a:pt x="89" y="29"/>
                  </a:cubicBezTo>
                  <a:cubicBezTo>
                    <a:pt x="90" y="45"/>
                    <a:pt x="82" y="54"/>
                    <a:pt x="72" y="51"/>
                  </a:cubicBezTo>
                  <a:cubicBezTo>
                    <a:pt x="61" y="47"/>
                    <a:pt x="63" y="34"/>
                    <a:pt x="63" y="34"/>
                  </a:cubicBezTo>
                  <a:cubicBezTo>
                    <a:pt x="63" y="34"/>
                    <a:pt x="25" y="54"/>
                    <a:pt x="12" y="51"/>
                  </a:cubicBezTo>
                  <a:cubicBezTo>
                    <a:pt x="0" y="49"/>
                    <a:pt x="0" y="36"/>
                    <a:pt x="0" y="36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08" name="Freeform 89">
              <a:extLst>
                <a:ext uri="{FF2B5EF4-FFF2-40B4-BE49-F238E27FC236}">
                  <a16:creationId xmlns:a16="http://schemas.microsoft.com/office/drawing/2014/main" id="{9AF5480A-B0C6-402A-AC9D-CAD60E65D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0398" y="2526647"/>
              <a:ext cx="1468437" cy="676275"/>
            </a:xfrm>
            <a:custGeom>
              <a:avLst/>
              <a:gdLst>
                <a:gd name="T0" fmla="*/ 1 w 589"/>
                <a:gd name="T1" fmla="*/ 266 h 271"/>
                <a:gd name="T2" fmla="*/ 1 w 589"/>
                <a:gd name="T3" fmla="*/ 247 h 271"/>
                <a:gd name="T4" fmla="*/ 16 w 589"/>
                <a:gd name="T5" fmla="*/ 232 h 271"/>
                <a:gd name="T6" fmla="*/ 217 w 589"/>
                <a:gd name="T7" fmla="*/ 223 h 271"/>
                <a:gd name="T8" fmla="*/ 300 w 589"/>
                <a:gd name="T9" fmla="*/ 0 h 271"/>
                <a:gd name="T10" fmla="*/ 589 w 589"/>
                <a:gd name="T11" fmla="*/ 19 h 271"/>
                <a:gd name="T12" fmla="*/ 523 w 589"/>
                <a:gd name="T13" fmla="*/ 235 h 271"/>
                <a:gd name="T14" fmla="*/ 523 w 589"/>
                <a:gd name="T15" fmla="*/ 266 h 271"/>
                <a:gd name="T16" fmla="*/ 203 w 589"/>
                <a:gd name="T17" fmla="*/ 266 h 271"/>
                <a:gd name="T18" fmla="*/ 1 w 589"/>
                <a:gd name="T19" fmla="*/ 266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9" h="271">
                  <a:moveTo>
                    <a:pt x="1" y="266"/>
                  </a:moveTo>
                  <a:cubicBezTo>
                    <a:pt x="1" y="266"/>
                    <a:pt x="0" y="251"/>
                    <a:pt x="1" y="247"/>
                  </a:cubicBezTo>
                  <a:cubicBezTo>
                    <a:pt x="2" y="242"/>
                    <a:pt x="16" y="232"/>
                    <a:pt x="16" y="232"/>
                  </a:cubicBezTo>
                  <a:cubicBezTo>
                    <a:pt x="16" y="232"/>
                    <a:pt x="191" y="225"/>
                    <a:pt x="217" y="223"/>
                  </a:cubicBezTo>
                  <a:cubicBezTo>
                    <a:pt x="217" y="223"/>
                    <a:pt x="289" y="11"/>
                    <a:pt x="300" y="0"/>
                  </a:cubicBezTo>
                  <a:cubicBezTo>
                    <a:pt x="300" y="0"/>
                    <a:pt x="544" y="10"/>
                    <a:pt x="589" y="19"/>
                  </a:cubicBezTo>
                  <a:cubicBezTo>
                    <a:pt x="523" y="235"/>
                    <a:pt x="523" y="235"/>
                    <a:pt x="523" y="235"/>
                  </a:cubicBezTo>
                  <a:cubicBezTo>
                    <a:pt x="523" y="266"/>
                    <a:pt x="523" y="266"/>
                    <a:pt x="523" y="266"/>
                  </a:cubicBezTo>
                  <a:cubicBezTo>
                    <a:pt x="523" y="266"/>
                    <a:pt x="225" y="271"/>
                    <a:pt x="203" y="266"/>
                  </a:cubicBezTo>
                  <a:lnTo>
                    <a:pt x="1" y="266"/>
                  </a:lnTo>
                  <a:close/>
                </a:path>
              </a:pathLst>
            </a:custGeom>
            <a:solidFill>
              <a:srgbClr val="CFD7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09" name="Freeform 90">
              <a:extLst>
                <a:ext uri="{FF2B5EF4-FFF2-40B4-BE49-F238E27FC236}">
                  <a16:creationId xmlns:a16="http://schemas.microsoft.com/office/drawing/2014/main" id="{95EC708E-9B6E-4D49-AFE8-575252FB2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736" y="2526647"/>
              <a:ext cx="266700" cy="568325"/>
            </a:xfrm>
            <a:custGeom>
              <a:avLst/>
              <a:gdLst>
                <a:gd name="T0" fmla="*/ 83 w 107"/>
                <a:gd name="T1" fmla="*/ 0 h 228"/>
                <a:gd name="T2" fmla="*/ 106 w 107"/>
                <a:gd name="T3" fmla="*/ 9 h 228"/>
                <a:gd name="T4" fmla="*/ 29 w 107"/>
                <a:gd name="T5" fmla="*/ 224 h 228"/>
                <a:gd name="T6" fmla="*/ 0 w 107"/>
                <a:gd name="T7" fmla="*/ 223 h 228"/>
                <a:gd name="T8" fmla="*/ 83 w 107"/>
                <a:gd name="T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228">
                  <a:moveTo>
                    <a:pt x="83" y="0"/>
                  </a:moveTo>
                  <a:cubicBezTo>
                    <a:pt x="83" y="0"/>
                    <a:pt x="105" y="1"/>
                    <a:pt x="106" y="9"/>
                  </a:cubicBezTo>
                  <a:cubicBezTo>
                    <a:pt x="107" y="16"/>
                    <a:pt x="33" y="221"/>
                    <a:pt x="29" y="224"/>
                  </a:cubicBezTo>
                  <a:cubicBezTo>
                    <a:pt x="24" y="228"/>
                    <a:pt x="0" y="223"/>
                    <a:pt x="0" y="223"/>
                  </a:cubicBezTo>
                  <a:cubicBezTo>
                    <a:pt x="0" y="223"/>
                    <a:pt x="72" y="12"/>
                    <a:pt x="8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10" name="Freeform 91">
              <a:extLst>
                <a:ext uri="{FF2B5EF4-FFF2-40B4-BE49-F238E27FC236}">
                  <a16:creationId xmlns:a16="http://schemas.microsoft.com/office/drawing/2014/main" id="{F3F259AA-F62A-4225-9411-91F4151EB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7223" y="2367897"/>
              <a:ext cx="42862" cy="88900"/>
            </a:xfrm>
            <a:custGeom>
              <a:avLst/>
              <a:gdLst>
                <a:gd name="T0" fmla="*/ 16 w 17"/>
                <a:gd name="T1" fmla="*/ 27 h 36"/>
                <a:gd name="T2" fmla="*/ 9 w 17"/>
                <a:gd name="T3" fmla="*/ 4 h 36"/>
                <a:gd name="T4" fmla="*/ 1 w 17"/>
                <a:gd name="T5" fmla="*/ 7 h 36"/>
                <a:gd name="T6" fmla="*/ 8 w 17"/>
                <a:gd name="T7" fmla="*/ 31 h 36"/>
                <a:gd name="T8" fmla="*/ 16 w 17"/>
                <a:gd name="T9" fmla="*/ 2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6">
                  <a:moveTo>
                    <a:pt x="16" y="27"/>
                  </a:moveTo>
                  <a:cubicBezTo>
                    <a:pt x="15" y="19"/>
                    <a:pt x="13" y="11"/>
                    <a:pt x="9" y="4"/>
                  </a:cubicBezTo>
                  <a:cubicBezTo>
                    <a:pt x="7" y="0"/>
                    <a:pt x="0" y="3"/>
                    <a:pt x="1" y="7"/>
                  </a:cubicBezTo>
                  <a:cubicBezTo>
                    <a:pt x="2" y="16"/>
                    <a:pt x="4" y="24"/>
                    <a:pt x="8" y="31"/>
                  </a:cubicBezTo>
                  <a:cubicBezTo>
                    <a:pt x="11" y="36"/>
                    <a:pt x="17" y="31"/>
                    <a:pt x="16" y="2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11" name="Freeform 92">
              <a:extLst>
                <a:ext uri="{FF2B5EF4-FFF2-40B4-BE49-F238E27FC236}">
                  <a16:creationId xmlns:a16="http://schemas.microsoft.com/office/drawing/2014/main" id="{1EB866F3-8508-4F6B-A1C4-EC5612445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7561" y="2364722"/>
              <a:ext cx="34925" cy="90488"/>
            </a:xfrm>
            <a:custGeom>
              <a:avLst/>
              <a:gdLst>
                <a:gd name="T0" fmla="*/ 5 w 14"/>
                <a:gd name="T1" fmla="*/ 6 h 36"/>
                <a:gd name="T2" fmla="*/ 1 w 14"/>
                <a:gd name="T3" fmla="*/ 28 h 36"/>
                <a:gd name="T4" fmla="*/ 10 w 14"/>
                <a:gd name="T5" fmla="*/ 30 h 36"/>
                <a:gd name="T6" fmla="*/ 14 w 14"/>
                <a:gd name="T7" fmla="*/ 7 h 36"/>
                <a:gd name="T8" fmla="*/ 5 w 14"/>
                <a:gd name="T9" fmla="*/ 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6">
                  <a:moveTo>
                    <a:pt x="5" y="6"/>
                  </a:moveTo>
                  <a:cubicBezTo>
                    <a:pt x="3" y="13"/>
                    <a:pt x="2" y="21"/>
                    <a:pt x="1" y="28"/>
                  </a:cubicBezTo>
                  <a:cubicBezTo>
                    <a:pt x="0" y="34"/>
                    <a:pt x="9" y="36"/>
                    <a:pt x="10" y="30"/>
                  </a:cubicBezTo>
                  <a:cubicBezTo>
                    <a:pt x="11" y="23"/>
                    <a:pt x="13" y="15"/>
                    <a:pt x="14" y="7"/>
                  </a:cubicBezTo>
                  <a:cubicBezTo>
                    <a:pt x="14" y="2"/>
                    <a:pt x="7" y="0"/>
                    <a:pt x="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12" name="Freeform 93">
              <a:extLst>
                <a:ext uri="{FF2B5EF4-FFF2-40B4-BE49-F238E27FC236}">
                  <a16:creationId xmlns:a16="http://schemas.microsoft.com/office/drawing/2014/main" id="{9D7A04DD-B0E4-40B6-A0AF-5D21F1D31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4561" y="2461559"/>
              <a:ext cx="79375" cy="65088"/>
            </a:xfrm>
            <a:custGeom>
              <a:avLst/>
              <a:gdLst>
                <a:gd name="T0" fmla="*/ 25 w 32"/>
                <a:gd name="T1" fmla="*/ 2 h 26"/>
                <a:gd name="T2" fmla="*/ 15 w 32"/>
                <a:gd name="T3" fmla="*/ 9 h 26"/>
                <a:gd name="T4" fmla="*/ 5 w 32"/>
                <a:gd name="T5" fmla="*/ 16 h 26"/>
                <a:gd name="T6" fmla="*/ 9 w 32"/>
                <a:gd name="T7" fmla="*/ 24 h 26"/>
                <a:gd name="T8" fmla="*/ 20 w 32"/>
                <a:gd name="T9" fmla="*/ 19 h 26"/>
                <a:gd name="T10" fmla="*/ 31 w 32"/>
                <a:gd name="T11" fmla="*/ 8 h 26"/>
                <a:gd name="T12" fmla="*/ 25 w 32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6">
                  <a:moveTo>
                    <a:pt x="25" y="2"/>
                  </a:moveTo>
                  <a:cubicBezTo>
                    <a:pt x="21" y="3"/>
                    <a:pt x="18" y="6"/>
                    <a:pt x="15" y="9"/>
                  </a:cubicBezTo>
                  <a:cubicBezTo>
                    <a:pt x="12" y="11"/>
                    <a:pt x="8" y="13"/>
                    <a:pt x="5" y="16"/>
                  </a:cubicBezTo>
                  <a:cubicBezTo>
                    <a:pt x="0" y="19"/>
                    <a:pt x="4" y="26"/>
                    <a:pt x="9" y="24"/>
                  </a:cubicBezTo>
                  <a:cubicBezTo>
                    <a:pt x="13" y="23"/>
                    <a:pt x="17" y="21"/>
                    <a:pt x="20" y="19"/>
                  </a:cubicBezTo>
                  <a:cubicBezTo>
                    <a:pt x="24" y="16"/>
                    <a:pt x="29" y="13"/>
                    <a:pt x="31" y="8"/>
                  </a:cubicBezTo>
                  <a:cubicBezTo>
                    <a:pt x="32" y="5"/>
                    <a:pt x="29" y="0"/>
                    <a:pt x="25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13" name="Freeform 94">
              <a:extLst>
                <a:ext uri="{FF2B5EF4-FFF2-40B4-BE49-F238E27FC236}">
                  <a16:creationId xmlns:a16="http://schemas.microsoft.com/office/drawing/2014/main" id="{F5904DE0-E000-487A-AE7A-BE4B7B0B5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1073" y="2629834"/>
              <a:ext cx="76200" cy="41275"/>
            </a:xfrm>
            <a:custGeom>
              <a:avLst/>
              <a:gdLst>
                <a:gd name="T0" fmla="*/ 26 w 30"/>
                <a:gd name="T1" fmla="*/ 8 h 17"/>
                <a:gd name="T2" fmla="*/ 6 w 30"/>
                <a:gd name="T3" fmla="*/ 1 h 17"/>
                <a:gd name="T4" fmla="*/ 5 w 30"/>
                <a:gd name="T5" fmla="*/ 11 h 17"/>
                <a:gd name="T6" fmla="*/ 13 w 30"/>
                <a:gd name="T7" fmla="*/ 13 h 17"/>
                <a:gd name="T8" fmla="*/ 23 w 30"/>
                <a:gd name="T9" fmla="*/ 16 h 17"/>
                <a:gd name="T10" fmla="*/ 26 w 30"/>
                <a:gd name="T1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7">
                  <a:moveTo>
                    <a:pt x="26" y="8"/>
                  </a:moveTo>
                  <a:cubicBezTo>
                    <a:pt x="21" y="3"/>
                    <a:pt x="12" y="0"/>
                    <a:pt x="6" y="1"/>
                  </a:cubicBezTo>
                  <a:cubicBezTo>
                    <a:pt x="0" y="2"/>
                    <a:pt x="0" y="10"/>
                    <a:pt x="5" y="11"/>
                  </a:cubicBezTo>
                  <a:cubicBezTo>
                    <a:pt x="8" y="12"/>
                    <a:pt x="11" y="12"/>
                    <a:pt x="13" y="13"/>
                  </a:cubicBezTo>
                  <a:cubicBezTo>
                    <a:pt x="16" y="14"/>
                    <a:pt x="19" y="15"/>
                    <a:pt x="23" y="16"/>
                  </a:cubicBezTo>
                  <a:cubicBezTo>
                    <a:pt x="27" y="17"/>
                    <a:pt x="30" y="11"/>
                    <a:pt x="26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14" name="Freeform 95">
              <a:extLst>
                <a:ext uri="{FF2B5EF4-FFF2-40B4-BE49-F238E27FC236}">
                  <a16:creationId xmlns:a16="http://schemas.microsoft.com/office/drawing/2014/main" id="{D54F2FA1-0FF2-45CE-A0A5-FC073B7F1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3461" y="3279122"/>
              <a:ext cx="160337" cy="1870075"/>
            </a:xfrm>
            <a:custGeom>
              <a:avLst/>
              <a:gdLst>
                <a:gd name="T0" fmla="*/ 50 w 64"/>
                <a:gd name="T1" fmla="*/ 0 h 750"/>
                <a:gd name="T2" fmla="*/ 61 w 64"/>
                <a:gd name="T3" fmla="*/ 711 h 750"/>
                <a:gd name="T4" fmla="*/ 13 w 64"/>
                <a:gd name="T5" fmla="*/ 711 h 750"/>
                <a:gd name="T6" fmla="*/ 0 w 64"/>
                <a:gd name="T7" fmla="*/ 0 h 750"/>
                <a:gd name="T8" fmla="*/ 50 w 64"/>
                <a:gd name="T9" fmla="*/ 0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750">
                  <a:moveTo>
                    <a:pt x="50" y="0"/>
                  </a:moveTo>
                  <a:cubicBezTo>
                    <a:pt x="50" y="0"/>
                    <a:pt x="59" y="688"/>
                    <a:pt x="61" y="711"/>
                  </a:cubicBezTo>
                  <a:cubicBezTo>
                    <a:pt x="64" y="734"/>
                    <a:pt x="20" y="750"/>
                    <a:pt x="13" y="711"/>
                  </a:cubicBezTo>
                  <a:cubicBezTo>
                    <a:pt x="5" y="672"/>
                    <a:pt x="0" y="0"/>
                    <a:pt x="0" y="0"/>
                  </a:cubicBezTo>
                  <a:lnTo>
                    <a:pt x="50" y="0"/>
                  </a:lnTo>
                  <a:close/>
                </a:path>
              </a:pathLst>
            </a:custGeom>
            <a:solidFill>
              <a:srgbClr val="2A35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15" name="Freeform 96">
              <a:extLst>
                <a:ext uri="{FF2B5EF4-FFF2-40B4-BE49-F238E27FC236}">
                  <a16:creationId xmlns:a16="http://schemas.microsoft.com/office/drawing/2014/main" id="{31441520-8217-47BD-848E-6C61DD9ADB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386" y="3177522"/>
              <a:ext cx="658812" cy="204788"/>
            </a:xfrm>
            <a:custGeom>
              <a:avLst/>
              <a:gdLst>
                <a:gd name="T0" fmla="*/ 0 w 415"/>
                <a:gd name="T1" fmla="*/ 24 h 129"/>
                <a:gd name="T2" fmla="*/ 415 w 415"/>
                <a:gd name="T3" fmla="*/ 0 h 129"/>
                <a:gd name="T4" fmla="*/ 415 w 415"/>
                <a:gd name="T5" fmla="*/ 129 h 129"/>
                <a:gd name="T6" fmla="*/ 0 w 415"/>
                <a:gd name="T7" fmla="*/ 129 h 129"/>
                <a:gd name="T8" fmla="*/ 0 w 415"/>
                <a:gd name="T9" fmla="*/ 2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5" h="129">
                  <a:moveTo>
                    <a:pt x="0" y="24"/>
                  </a:moveTo>
                  <a:lnTo>
                    <a:pt x="415" y="0"/>
                  </a:lnTo>
                  <a:lnTo>
                    <a:pt x="415" y="129"/>
                  </a:lnTo>
                  <a:lnTo>
                    <a:pt x="0" y="129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2A35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16" name="Freeform 97">
              <a:extLst>
                <a:ext uri="{FF2B5EF4-FFF2-40B4-BE49-F238E27FC236}">
                  <a16:creationId xmlns:a16="http://schemas.microsoft.com/office/drawing/2014/main" id="{CC1AF46A-4A85-4D63-AD3C-C36E16C07C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4198" y="3177522"/>
              <a:ext cx="1936750" cy="204788"/>
            </a:xfrm>
            <a:custGeom>
              <a:avLst/>
              <a:gdLst>
                <a:gd name="T0" fmla="*/ 1220 w 1220"/>
                <a:gd name="T1" fmla="*/ 0 h 129"/>
                <a:gd name="T2" fmla="*/ 0 w 1220"/>
                <a:gd name="T3" fmla="*/ 0 h 129"/>
                <a:gd name="T4" fmla="*/ 0 w 1220"/>
                <a:gd name="T5" fmla="*/ 129 h 129"/>
                <a:gd name="T6" fmla="*/ 1220 w 1220"/>
                <a:gd name="T7" fmla="*/ 99 h 129"/>
                <a:gd name="T8" fmla="*/ 1220 w 1220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0" h="129">
                  <a:moveTo>
                    <a:pt x="1220" y="0"/>
                  </a:moveTo>
                  <a:lnTo>
                    <a:pt x="0" y="0"/>
                  </a:lnTo>
                  <a:lnTo>
                    <a:pt x="0" y="129"/>
                  </a:lnTo>
                  <a:lnTo>
                    <a:pt x="1220" y="99"/>
                  </a:lnTo>
                  <a:lnTo>
                    <a:pt x="1220" y="0"/>
                  </a:lnTo>
                  <a:close/>
                </a:path>
              </a:pathLst>
            </a:custGeom>
            <a:solidFill>
              <a:srgbClr val="2A35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17" name="Freeform 98">
              <a:extLst>
                <a:ext uri="{FF2B5EF4-FFF2-40B4-BE49-F238E27FC236}">
                  <a16:creationId xmlns:a16="http://schemas.microsoft.com/office/drawing/2014/main" id="{4C3274CE-9061-4897-AB5F-B1B83D6431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0611" y="3334685"/>
              <a:ext cx="234950" cy="1754188"/>
            </a:xfrm>
            <a:custGeom>
              <a:avLst/>
              <a:gdLst>
                <a:gd name="T0" fmla="*/ 94 w 94"/>
                <a:gd name="T1" fmla="*/ 0 h 704"/>
                <a:gd name="T2" fmla="*/ 50 w 94"/>
                <a:gd name="T3" fmla="*/ 670 h 704"/>
                <a:gd name="T4" fmla="*/ 7 w 94"/>
                <a:gd name="T5" fmla="*/ 670 h 704"/>
                <a:gd name="T6" fmla="*/ 43 w 94"/>
                <a:gd name="T7" fmla="*/ 0 h 704"/>
                <a:gd name="T8" fmla="*/ 94 w 94"/>
                <a:gd name="T9" fmla="*/ 0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704">
                  <a:moveTo>
                    <a:pt x="94" y="0"/>
                  </a:moveTo>
                  <a:cubicBezTo>
                    <a:pt x="94" y="0"/>
                    <a:pt x="50" y="647"/>
                    <a:pt x="50" y="670"/>
                  </a:cubicBezTo>
                  <a:cubicBezTo>
                    <a:pt x="50" y="670"/>
                    <a:pt x="15" y="704"/>
                    <a:pt x="7" y="670"/>
                  </a:cubicBezTo>
                  <a:cubicBezTo>
                    <a:pt x="0" y="636"/>
                    <a:pt x="43" y="0"/>
                    <a:pt x="43" y="0"/>
                  </a:cubicBezTo>
                  <a:lnTo>
                    <a:pt x="94" y="0"/>
                  </a:lnTo>
                  <a:close/>
                </a:path>
              </a:pathLst>
            </a:custGeom>
            <a:solidFill>
              <a:srgbClr val="2A35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18" name="Freeform 99">
              <a:extLst>
                <a:ext uri="{FF2B5EF4-FFF2-40B4-BE49-F238E27FC236}">
                  <a16:creationId xmlns:a16="http://schemas.microsoft.com/office/drawing/2014/main" id="{6CE046ED-593F-4F2A-AEC4-2C442F7EF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1486" y="3372785"/>
              <a:ext cx="241300" cy="1806575"/>
            </a:xfrm>
            <a:custGeom>
              <a:avLst/>
              <a:gdLst>
                <a:gd name="T0" fmla="*/ 45 w 97"/>
                <a:gd name="T1" fmla="*/ 4 h 725"/>
                <a:gd name="T2" fmla="*/ 5 w 97"/>
                <a:gd name="T3" fmla="*/ 701 h 725"/>
                <a:gd name="T4" fmla="*/ 51 w 97"/>
                <a:gd name="T5" fmla="*/ 710 h 725"/>
                <a:gd name="T6" fmla="*/ 97 w 97"/>
                <a:gd name="T7" fmla="*/ 0 h 725"/>
                <a:gd name="T8" fmla="*/ 45 w 97"/>
                <a:gd name="T9" fmla="*/ 4 h 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725">
                  <a:moveTo>
                    <a:pt x="45" y="4"/>
                  </a:moveTo>
                  <a:cubicBezTo>
                    <a:pt x="45" y="4"/>
                    <a:pt x="0" y="686"/>
                    <a:pt x="5" y="701"/>
                  </a:cubicBezTo>
                  <a:cubicBezTo>
                    <a:pt x="9" y="717"/>
                    <a:pt x="44" y="725"/>
                    <a:pt x="51" y="710"/>
                  </a:cubicBezTo>
                  <a:cubicBezTo>
                    <a:pt x="57" y="694"/>
                    <a:pt x="97" y="0"/>
                    <a:pt x="97" y="0"/>
                  </a:cubicBezTo>
                  <a:lnTo>
                    <a:pt x="45" y="4"/>
                  </a:lnTo>
                  <a:close/>
                </a:path>
              </a:pathLst>
            </a:custGeom>
            <a:solidFill>
              <a:srgbClr val="2A35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19" name="Freeform 100">
              <a:extLst>
                <a:ext uri="{FF2B5EF4-FFF2-40B4-BE49-F238E27FC236}">
                  <a16:creationId xmlns:a16="http://schemas.microsoft.com/office/drawing/2014/main" id="{F52B133F-CFC8-43B2-ADDA-F19AB46E0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4648" y="1350309"/>
              <a:ext cx="676275" cy="1163638"/>
            </a:xfrm>
            <a:custGeom>
              <a:avLst/>
              <a:gdLst>
                <a:gd name="T0" fmla="*/ 238 w 271"/>
                <a:gd name="T1" fmla="*/ 34 h 467"/>
                <a:gd name="T2" fmla="*/ 187 w 271"/>
                <a:gd name="T3" fmla="*/ 110 h 467"/>
                <a:gd name="T4" fmla="*/ 208 w 271"/>
                <a:gd name="T5" fmla="*/ 467 h 467"/>
                <a:gd name="T6" fmla="*/ 196 w 271"/>
                <a:gd name="T7" fmla="*/ 372 h 467"/>
                <a:gd name="T8" fmla="*/ 230 w 271"/>
                <a:gd name="T9" fmla="*/ 414 h 467"/>
                <a:gd name="T10" fmla="*/ 202 w 271"/>
                <a:gd name="T11" fmla="*/ 256 h 467"/>
                <a:gd name="T12" fmla="*/ 265 w 271"/>
                <a:gd name="T13" fmla="*/ 46 h 467"/>
                <a:gd name="T14" fmla="*/ 238 w 271"/>
                <a:gd name="T15" fmla="*/ 3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467">
                  <a:moveTo>
                    <a:pt x="238" y="34"/>
                  </a:moveTo>
                  <a:cubicBezTo>
                    <a:pt x="238" y="34"/>
                    <a:pt x="219" y="84"/>
                    <a:pt x="187" y="110"/>
                  </a:cubicBezTo>
                  <a:cubicBezTo>
                    <a:pt x="154" y="136"/>
                    <a:pt x="0" y="350"/>
                    <a:pt x="208" y="467"/>
                  </a:cubicBezTo>
                  <a:cubicBezTo>
                    <a:pt x="208" y="467"/>
                    <a:pt x="174" y="425"/>
                    <a:pt x="196" y="372"/>
                  </a:cubicBezTo>
                  <a:cubicBezTo>
                    <a:pt x="196" y="372"/>
                    <a:pt x="205" y="401"/>
                    <a:pt x="230" y="414"/>
                  </a:cubicBezTo>
                  <a:cubicBezTo>
                    <a:pt x="230" y="414"/>
                    <a:pt x="197" y="326"/>
                    <a:pt x="202" y="256"/>
                  </a:cubicBezTo>
                  <a:cubicBezTo>
                    <a:pt x="208" y="187"/>
                    <a:pt x="260" y="91"/>
                    <a:pt x="265" y="46"/>
                  </a:cubicBezTo>
                  <a:cubicBezTo>
                    <a:pt x="271" y="0"/>
                    <a:pt x="245" y="30"/>
                    <a:pt x="238" y="34"/>
                  </a:cubicBezTo>
                </a:path>
              </a:pathLst>
            </a:custGeom>
            <a:solidFill>
              <a:srgbClr val="8645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20" name="Freeform 101">
              <a:extLst>
                <a:ext uri="{FF2B5EF4-FFF2-40B4-BE49-F238E27FC236}">
                  <a16:creationId xmlns:a16="http://schemas.microsoft.com/office/drawing/2014/main" id="{DF95580C-0F5A-4DEC-9C56-C48764642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7736" y="1283634"/>
              <a:ext cx="139700" cy="228600"/>
            </a:xfrm>
            <a:custGeom>
              <a:avLst/>
              <a:gdLst>
                <a:gd name="T0" fmla="*/ 8 w 56"/>
                <a:gd name="T1" fmla="*/ 9 h 92"/>
                <a:gd name="T2" fmla="*/ 0 w 56"/>
                <a:gd name="T3" fmla="*/ 64 h 92"/>
                <a:gd name="T4" fmla="*/ 29 w 56"/>
                <a:gd name="T5" fmla="*/ 88 h 92"/>
                <a:gd name="T6" fmla="*/ 53 w 56"/>
                <a:gd name="T7" fmla="*/ 25 h 92"/>
                <a:gd name="T8" fmla="*/ 8 w 56"/>
                <a:gd name="T9" fmla="*/ 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92">
                  <a:moveTo>
                    <a:pt x="8" y="9"/>
                  </a:moveTo>
                  <a:cubicBezTo>
                    <a:pt x="8" y="9"/>
                    <a:pt x="0" y="52"/>
                    <a:pt x="0" y="64"/>
                  </a:cubicBezTo>
                  <a:cubicBezTo>
                    <a:pt x="1" y="77"/>
                    <a:pt x="14" y="92"/>
                    <a:pt x="29" y="88"/>
                  </a:cubicBezTo>
                  <a:cubicBezTo>
                    <a:pt x="44" y="85"/>
                    <a:pt x="50" y="37"/>
                    <a:pt x="53" y="25"/>
                  </a:cubicBezTo>
                  <a:cubicBezTo>
                    <a:pt x="56" y="14"/>
                    <a:pt x="17" y="0"/>
                    <a:pt x="8" y="9"/>
                  </a:cubicBezTo>
                </a:path>
              </a:pathLst>
            </a:custGeom>
            <a:solidFill>
              <a:srgbClr val="FFC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21" name="Freeform 102">
              <a:extLst>
                <a:ext uri="{FF2B5EF4-FFF2-40B4-BE49-F238E27FC236}">
                  <a16:creationId xmlns:a16="http://schemas.microsoft.com/office/drawing/2014/main" id="{A82B3075-60C6-49A2-8C63-EE74B021B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7848" y="4668185"/>
              <a:ext cx="623887" cy="350838"/>
            </a:xfrm>
            <a:custGeom>
              <a:avLst/>
              <a:gdLst>
                <a:gd name="T0" fmla="*/ 73 w 250"/>
                <a:gd name="T1" fmla="*/ 27 h 141"/>
                <a:gd name="T2" fmla="*/ 122 w 250"/>
                <a:gd name="T3" fmla="*/ 54 h 141"/>
                <a:gd name="T4" fmla="*/ 210 w 250"/>
                <a:gd name="T5" fmla="*/ 10 h 141"/>
                <a:gd name="T6" fmla="*/ 246 w 250"/>
                <a:gd name="T7" fmla="*/ 70 h 141"/>
                <a:gd name="T8" fmla="*/ 109 w 250"/>
                <a:gd name="T9" fmla="*/ 130 h 141"/>
                <a:gd name="T10" fmla="*/ 23 w 250"/>
                <a:gd name="T11" fmla="*/ 130 h 141"/>
                <a:gd name="T12" fmla="*/ 12 w 250"/>
                <a:gd name="T13" fmla="*/ 48 h 141"/>
                <a:gd name="T14" fmla="*/ 73 w 250"/>
                <a:gd name="T15" fmla="*/ 2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0" h="141">
                  <a:moveTo>
                    <a:pt x="73" y="27"/>
                  </a:moveTo>
                  <a:cubicBezTo>
                    <a:pt x="73" y="27"/>
                    <a:pt x="109" y="55"/>
                    <a:pt x="122" y="54"/>
                  </a:cubicBezTo>
                  <a:cubicBezTo>
                    <a:pt x="135" y="54"/>
                    <a:pt x="187" y="0"/>
                    <a:pt x="210" y="10"/>
                  </a:cubicBezTo>
                  <a:cubicBezTo>
                    <a:pt x="232" y="19"/>
                    <a:pt x="250" y="47"/>
                    <a:pt x="246" y="70"/>
                  </a:cubicBezTo>
                  <a:cubicBezTo>
                    <a:pt x="246" y="70"/>
                    <a:pt x="147" y="122"/>
                    <a:pt x="109" y="130"/>
                  </a:cubicBezTo>
                  <a:cubicBezTo>
                    <a:pt x="71" y="137"/>
                    <a:pt x="31" y="141"/>
                    <a:pt x="23" y="130"/>
                  </a:cubicBezTo>
                  <a:cubicBezTo>
                    <a:pt x="15" y="118"/>
                    <a:pt x="0" y="72"/>
                    <a:pt x="12" y="48"/>
                  </a:cubicBezTo>
                  <a:cubicBezTo>
                    <a:pt x="23" y="23"/>
                    <a:pt x="73" y="27"/>
                    <a:pt x="73" y="27"/>
                  </a:cubicBezTo>
                </a:path>
              </a:pathLst>
            </a:custGeom>
            <a:solidFill>
              <a:srgbClr val="D2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22" name="Freeform 103">
              <a:extLst>
                <a:ext uri="{FF2B5EF4-FFF2-40B4-BE49-F238E27FC236}">
                  <a16:creationId xmlns:a16="http://schemas.microsoft.com/office/drawing/2014/main" id="{C293C45B-9E44-4B08-B438-7A2106A12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7173" y="4631672"/>
              <a:ext cx="557212" cy="520700"/>
            </a:xfrm>
            <a:custGeom>
              <a:avLst/>
              <a:gdLst>
                <a:gd name="T0" fmla="*/ 113 w 223"/>
                <a:gd name="T1" fmla="*/ 24 h 209"/>
                <a:gd name="T2" fmla="*/ 137 w 223"/>
                <a:gd name="T3" fmla="*/ 121 h 209"/>
                <a:gd name="T4" fmla="*/ 214 w 223"/>
                <a:gd name="T5" fmla="*/ 152 h 209"/>
                <a:gd name="T6" fmla="*/ 214 w 223"/>
                <a:gd name="T7" fmla="*/ 188 h 209"/>
                <a:gd name="T8" fmla="*/ 96 w 223"/>
                <a:gd name="T9" fmla="*/ 188 h 209"/>
                <a:gd name="T10" fmla="*/ 4 w 223"/>
                <a:gd name="T11" fmla="*/ 69 h 209"/>
                <a:gd name="T12" fmla="*/ 52 w 223"/>
                <a:gd name="T13" fmla="*/ 0 h 209"/>
                <a:gd name="T14" fmla="*/ 113 w 223"/>
                <a:gd name="T15" fmla="*/ 2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3" h="209">
                  <a:moveTo>
                    <a:pt x="113" y="24"/>
                  </a:moveTo>
                  <a:cubicBezTo>
                    <a:pt x="113" y="24"/>
                    <a:pt x="122" y="112"/>
                    <a:pt x="137" y="121"/>
                  </a:cubicBezTo>
                  <a:cubicBezTo>
                    <a:pt x="137" y="121"/>
                    <a:pt x="204" y="133"/>
                    <a:pt x="214" y="152"/>
                  </a:cubicBezTo>
                  <a:cubicBezTo>
                    <a:pt x="223" y="171"/>
                    <a:pt x="214" y="188"/>
                    <a:pt x="214" y="188"/>
                  </a:cubicBezTo>
                  <a:cubicBezTo>
                    <a:pt x="214" y="188"/>
                    <a:pt x="126" y="209"/>
                    <a:pt x="96" y="188"/>
                  </a:cubicBezTo>
                  <a:cubicBezTo>
                    <a:pt x="65" y="168"/>
                    <a:pt x="7" y="87"/>
                    <a:pt x="4" y="69"/>
                  </a:cubicBezTo>
                  <a:cubicBezTo>
                    <a:pt x="0" y="51"/>
                    <a:pt x="52" y="0"/>
                    <a:pt x="52" y="0"/>
                  </a:cubicBezTo>
                  <a:lnTo>
                    <a:pt x="113" y="24"/>
                  </a:lnTo>
                  <a:close/>
                </a:path>
              </a:pathLst>
            </a:custGeom>
            <a:solidFill>
              <a:srgbClr val="D2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23" name="Freeform 104">
              <a:extLst>
                <a:ext uri="{FF2B5EF4-FFF2-40B4-BE49-F238E27FC236}">
                  <a16:creationId xmlns:a16="http://schemas.microsoft.com/office/drawing/2014/main" id="{82D5BC51-DBC6-4A97-A20D-CB89A4094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6711" y="2445684"/>
              <a:ext cx="1685925" cy="2409825"/>
            </a:xfrm>
            <a:custGeom>
              <a:avLst/>
              <a:gdLst>
                <a:gd name="T0" fmla="*/ 522 w 676"/>
                <a:gd name="T1" fmla="*/ 73 h 967"/>
                <a:gd name="T2" fmla="*/ 628 w 676"/>
                <a:gd name="T3" fmla="*/ 429 h 967"/>
                <a:gd name="T4" fmla="*/ 676 w 676"/>
                <a:gd name="T5" fmla="*/ 919 h 967"/>
                <a:gd name="T6" fmla="*/ 599 w 676"/>
                <a:gd name="T7" fmla="*/ 936 h 967"/>
                <a:gd name="T8" fmla="*/ 547 w 676"/>
                <a:gd name="T9" fmla="*/ 552 h 967"/>
                <a:gd name="T10" fmla="*/ 400 w 676"/>
                <a:gd name="T11" fmla="*/ 235 h 967"/>
                <a:gd name="T12" fmla="*/ 305 w 676"/>
                <a:gd name="T13" fmla="*/ 536 h 967"/>
                <a:gd name="T14" fmla="*/ 69 w 676"/>
                <a:gd name="T15" fmla="*/ 919 h 967"/>
                <a:gd name="T16" fmla="*/ 0 w 676"/>
                <a:gd name="T17" fmla="*/ 890 h 967"/>
                <a:gd name="T18" fmla="*/ 187 w 676"/>
                <a:gd name="T19" fmla="*/ 542 h 967"/>
                <a:gd name="T20" fmla="*/ 267 w 676"/>
                <a:gd name="T21" fmla="*/ 68 h 967"/>
                <a:gd name="T22" fmla="*/ 522 w 676"/>
                <a:gd name="T23" fmla="*/ 73 h 9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6" h="967">
                  <a:moveTo>
                    <a:pt x="522" y="73"/>
                  </a:moveTo>
                  <a:cubicBezTo>
                    <a:pt x="522" y="73"/>
                    <a:pt x="606" y="309"/>
                    <a:pt x="628" y="429"/>
                  </a:cubicBezTo>
                  <a:cubicBezTo>
                    <a:pt x="651" y="550"/>
                    <a:pt x="668" y="898"/>
                    <a:pt x="676" y="919"/>
                  </a:cubicBezTo>
                  <a:cubicBezTo>
                    <a:pt x="676" y="919"/>
                    <a:pt x="651" y="967"/>
                    <a:pt x="599" y="936"/>
                  </a:cubicBezTo>
                  <a:cubicBezTo>
                    <a:pt x="599" y="936"/>
                    <a:pt x="568" y="627"/>
                    <a:pt x="547" y="552"/>
                  </a:cubicBezTo>
                  <a:cubicBezTo>
                    <a:pt x="526" y="477"/>
                    <a:pt x="418" y="260"/>
                    <a:pt x="400" y="235"/>
                  </a:cubicBezTo>
                  <a:cubicBezTo>
                    <a:pt x="400" y="235"/>
                    <a:pt x="333" y="464"/>
                    <a:pt x="305" y="536"/>
                  </a:cubicBezTo>
                  <a:cubicBezTo>
                    <a:pt x="276" y="609"/>
                    <a:pt x="111" y="898"/>
                    <a:pt x="69" y="919"/>
                  </a:cubicBezTo>
                  <a:cubicBezTo>
                    <a:pt x="69" y="919"/>
                    <a:pt x="21" y="935"/>
                    <a:pt x="0" y="890"/>
                  </a:cubicBezTo>
                  <a:cubicBezTo>
                    <a:pt x="0" y="890"/>
                    <a:pt x="164" y="624"/>
                    <a:pt x="187" y="542"/>
                  </a:cubicBezTo>
                  <a:cubicBezTo>
                    <a:pt x="210" y="460"/>
                    <a:pt x="229" y="136"/>
                    <a:pt x="267" y="68"/>
                  </a:cubicBezTo>
                  <a:cubicBezTo>
                    <a:pt x="306" y="0"/>
                    <a:pt x="463" y="29"/>
                    <a:pt x="522" y="73"/>
                  </a:cubicBezTo>
                </a:path>
              </a:pathLst>
            </a:custGeom>
            <a:solidFill>
              <a:srgbClr val="2F5F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24" name="Freeform 105">
              <a:extLst>
                <a:ext uri="{FF2B5EF4-FFF2-40B4-BE49-F238E27FC236}">
                  <a16:creationId xmlns:a16="http://schemas.microsoft.com/office/drawing/2014/main" id="{AFB73D9A-2200-4622-97A0-88975B100E7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7436" y="1632884"/>
              <a:ext cx="341312" cy="452438"/>
            </a:xfrm>
            <a:custGeom>
              <a:avLst/>
              <a:gdLst>
                <a:gd name="T0" fmla="*/ 2 w 137"/>
                <a:gd name="T1" fmla="*/ 139 h 182"/>
                <a:gd name="T2" fmla="*/ 6 w 137"/>
                <a:gd name="T3" fmla="*/ 73 h 182"/>
                <a:gd name="T4" fmla="*/ 51 w 137"/>
                <a:gd name="T5" fmla="*/ 61 h 182"/>
                <a:gd name="T6" fmla="*/ 119 w 137"/>
                <a:gd name="T7" fmla="*/ 1 h 182"/>
                <a:gd name="T8" fmla="*/ 124 w 137"/>
                <a:gd name="T9" fmla="*/ 21 h 182"/>
                <a:gd name="T10" fmla="*/ 82 w 137"/>
                <a:gd name="T11" fmla="*/ 77 h 182"/>
                <a:gd name="T12" fmla="*/ 110 w 137"/>
                <a:gd name="T13" fmla="*/ 82 h 182"/>
                <a:gd name="T14" fmla="*/ 110 w 137"/>
                <a:gd name="T15" fmla="*/ 108 h 182"/>
                <a:gd name="T16" fmla="*/ 112 w 137"/>
                <a:gd name="T17" fmla="*/ 139 h 182"/>
                <a:gd name="T18" fmla="*/ 43 w 137"/>
                <a:gd name="T19" fmla="*/ 179 h 182"/>
                <a:gd name="T20" fmla="*/ 2 w 137"/>
                <a:gd name="T21" fmla="*/ 13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182">
                  <a:moveTo>
                    <a:pt x="2" y="139"/>
                  </a:moveTo>
                  <a:cubicBezTo>
                    <a:pt x="2" y="139"/>
                    <a:pt x="0" y="96"/>
                    <a:pt x="6" y="73"/>
                  </a:cubicBezTo>
                  <a:cubicBezTo>
                    <a:pt x="13" y="50"/>
                    <a:pt x="33" y="46"/>
                    <a:pt x="51" y="61"/>
                  </a:cubicBezTo>
                  <a:cubicBezTo>
                    <a:pt x="51" y="61"/>
                    <a:pt x="106" y="2"/>
                    <a:pt x="119" y="1"/>
                  </a:cubicBezTo>
                  <a:cubicBezTo>
                    <a:pt x="132" y="0"/>
                    <a:pt x="137" y="7"/>
                    <a:pt x="124" y="21"/>
                  </a:cubicBezTo>
                  <a:cubicBezTo>
                    <a:pt x="112" y="35"/>
                    <a:pt x="82" y="77"/>
                    <a:pt x="82" y="77"/>
                  </a:cubicBezTo>
                  <a:cubicBezTo>
                    <a:pt x="82" y="77"/>
                    <a:pt x="104" y="72"/>
                    <a:pt x="110" y="82"/>
                  </a:cubicBezTo>
                  <a:cubicBezTo>
                    <a:pt x="117" y="92"/>
                    <a:pt x="110" y="108"/>
                    <a:pt x="110" y="108"/>
                  </a:cubicBezTo>
                  <a:cubicBezTo>
                    <a:pt x="110" y="108"/>
                    <a:pt x="128" y="121"/>
                    <a:pt x="112" y="139"/>
                  </a:cubicBezTo>
                  <a:cubicBezTo>
                    <a:pt x="95" y="156"/>
                    <a:pt x="51" y="182"/>
                    <a:pt x="43" y="179"/>
                  </a:cubicBezTo>
                  <a:cubicBezTo>
                    <a:pt x="35" y="176"/>
                    <a:pt x="2" y="139"/>
                    <a:pt x="2" y="139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25" name="Freeform 106">
              <a:extLst>
                <a:ext uri="{FF2B5EF4-FFF2-40B4-BE49-F238E27FC236}">
                  <a16:creationId xmlns:a16="http://schemas.microsoft.com/office/drawing/2014/main" id="{918373EE-0C64-4547-8F5E-FF6048770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1448" y="1585259"/>
              <a:ext cx="1062037" cy="752475"/>
            </a:xfrm>
            <a:custGeom>
              <a:avLst/>
              <a:gdLst>
                <a:gd name="T0" fmla="*/ 6 w 426"/>
                <a:gd name="T1" fmla="*/ 0 h 302"/>
                <a:gd name="T2" fmla="*/ 54 w 426"/>
                <a:gd name="T3" fmla="*/ 39 h 302"/>
                <a:gd name="T4" fmla="*/ 205 w 426"/>
                <a:gd name="T5" fmla="*/ 209 h 302"/>
                <a:gd name="T6" fmla="*/ 365 w 426"/>
                <a:gd name="T7" fmla="*/ 150 h 302"/>
                <a:gd name="T8" fmla="*/ 421 w 426"/>
                <a:gd name="T9" fmla="*/ 210 h 302"/>
                <a:gd name="T10" fmla="*/ 202 w 426"/>
                <a:gd name="T11" fmla="*/ 299 h 302"/>
                <a:gd name="T12" fmla="*/ 65 w 426"/>
                <a:gd name="T13" fmla="*/ 208 h 302"/>
                <a:gd name="T14" fmla="*/ 6 w 426"/>
                <a:gd name="T15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6" h="302">
                  <a:moveTo>
                    <a:pt x="6" y="0"/>
                  </a:moveTo>
                  <a:cubicBezTo>
                    <a:pt x="6" y="0"/>
                    <a:pt x="35" y="8"/>
                    <a:pt x="54" y="39"/>
                  </a:cubicBezTo>
                  <a:cubicBezTo>
                    <a:pt x="74" y="69"/>
                    <a:pt x="129" y="198"/>
                    <a:pt x="205" y="209"/>
                  </a:cubicBezTo>
                  <a:cubicBezTo>
                    <a:pt x="281" y="220"/>
                    <a:pt x="349" y="153"/>
                    <a:pt x="365" y="150"/>
                  </a:cubicBezTo>
                  <a:cubicBezTo>
                    <a:pt x="381" y="147"/>
                    <a:pt x="426" y="186"/>
                    <a:pt x="421" y="210"/>
                  </a:cubicBezTo>
                  <a:cubicBezTo>
                    <a:pt x="416" y="235"/>
                    <a:pt x="272" y="302"/>
                    <a:pt x="202" y="299"/>
                  </a:cubicBezTo>
                  <a:cubicBezTo>
                    <a:pt x="133" y="295"/>
                    <a:pt x="78" y="224"/>
                    <a:pt x="65" y="208"/>
                  </a:cubicBezTo>
                  <a:cubicBezTo>
                    <a:pt x="52" y="192"/>
                    <a:pt x="0" y="46"/>
                    <a:pt x="6" y="0"/>
                  </a:cubicBezTo>
                </a:path>
              </a:pathLst>
            </a:custGeom>
            <a:solidFill>
              <a:srgbClr val="FF69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26" name="Freeform 107">
              <a:extLst>
                <a:ext uri="{FF2B5EF4-FFF2-40B4-BE49-F238E27FC236}">
                  <a16:creationId xmlns:a16="http://schemas.microsoft.com/office/drawing/2014/main" id="{94644902-0BE4-447F-BA76-6FDD68031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2898" y="1971022"/>
              <a:ext cx="520700" cy="723900"/>
            </a:xfrm>
            <a:custGeom>
              <a:avLst/>
              <a:gdLst>
                <a:gd name="T0" fmla="*/ 199 w 209"/>
                <a:gd name="T1" fmla="*/ 76 h 290"/>
                <a:gd name="T2" fmla="*/ 37 w 209"/>
                <a:gd name="T3" fmla="*/ 290 h 290"/>
                <a:gd name="T4" fmla="*/ 0 w 209"/>
                <a:gd name="T5" fmla="*/ 277 h 290"/>
                <a:gd name="T6" fmla="*/ 157 w 209"/>
                <a:gd name="T7" fmla="*/ 115 h 290"/>
                <a:gd name="T8" fmla="*/ 199 w 209"/>
                <a:gd name="T9" fmla="*/ 76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90">
                  <a:moveTo>
                    <a:pt x="199" y="76"/>
                  </a:moveTo>
                  <a:cubicBezTo>
                    <a:pt x="199" y="76"/>
                    <a:pt x="139" y="232"/>
                    <a:pt x="37" y="290"/>
                  </a:cubicBezTo>
                  <a:cubicBezTo>
                    <a:pt x="37" y="290"/>
                    <a:pt x="7" y="288"/>
                    <a:pt x="0" y="277"/>
                  </a:cubicBezTo>
                  <a:cubicBezTo>
                    <a:pt x="0" y="277"/>
                    <a:pt x="105" y="231"/>
                    <a:pt x="157" y="115"/>
                  </a:cubicBezTo>
                  <a:cubicBezTo>
                    <a:pt x="209" y="0"/>
                    <a:pt x="199" y="76"/>
                    <a:pt x="199" y="76"/>
                  </a:cubicBezTo>
                </a:path>
              </a:pathLst>
            </a:custGeom>
            <a:solidFill>
              <a:srgbClr val="EDB4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27" name="Freeform 108">
              <a:extLst>
                <a:ext uri="{FF2B5EF4-FFF2-40B4-BE49-F238E27FC236}">
                  <a16:creationId xmlns:a16="http://schemas.microsoft.com/office/drawing/2014/main" id="{B2DD5684-29B4-438D-97B6-0AB3091D4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3361" y="1550334"/>
              <a:ext cx="1465262" cy="1260475"/>
            </a:xfrm>
            <a:custGeom>
              <a:avLst/>
              <a:gdLst>
                <a:gd name="T0" fmla="*/ 429 w 588"/>
                <a:gd name="T1" fmla="*/ 9 h 506"/>
                <a:gd name="T2" fmla="*/ 492 w 588"/>
                <a:gd name="T3" fmla="*/ 22 h 506"/>
                <a:gd name="T4" fmla="*/ 528 w 588"/>
                <a:gd name="T5" fmla="*/ 122 h 506"/>
                <a:gd name="T6" fmla="*/ 549 w 588"/>
                <a:gd name="T7" fmla="*/ 240 h 506"/>
                <a:gd name="T8" fmla="*/ 588 w 588"/>
                <a:gd name="T9" fmla="*/ 447 h 506"/>
                <a:gd name="T10" fmla="*/ 302 w 588"/>
                <a:gd name="T11" fmla="*/ 441 h 506"/>
                <a:gd name="T12" fmla="*/ 355 w 588"/>
                <a:gd name="T13" fmla="*/ 292 h 506"/>
                <a:gd name="T14" fmla="*/ 316 w 588"/>
                <a:gd name="T15" fmla="*/ 149 h 506"/>
                <a:gd name="T16" fmla="*/ 188 w 588"/>
                <a:gd name="T17" fmla="*/ 315 h 506"/>
                <a:gd name="T18" fmla="*/ 16 w 588"/>
                <a:gd name="T19" fmla="*/ 294 h 506"/>
                <a:gd name="T20" fmla="*/ 69 w 588"/>
                <a:gd name="T21" fmla="*/ 242 h 506"/>
                <a:gd name="T22" fmla="*/ 166 w 588"/>
                <a:gd name="T23" fmla="*/ 229 h 506"/>
                <a:gd name="T24" fmla="*/ 284 w 588"/>
                <a:gd name="T25" fmla="*/ 31 h 506"/>
                <a:gd name="T26" fmla="*/ 429 w 588"/>
                <a:gd name="T27" fmla="*/ 9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8" h="506">
                  <a:moveTo>
                    <a:pt x="429" y="9"/>
                  </a:moveTo>
                  <a:cubicBezTo>
                    <a:pt x="429" y="9"/>
                    <a:pt x="483" y="0"/>
                    <a:pt x="492" y="22"/>
                  </a:cubicBezTo>
                  <a:cubicBezTo>
                    <a:pt x="501" y="45"/>
                    <a:pt x="516" y="109"/>
                    <a:pt x="528" y="122"/>
                  </a:cubicBezTo>
                  <a:cubicBezTo>
                    <a:pt x="541" y="134"/>
                    <a:pt x="585" y="195"/>
                    <a:pt x="549" y="240"/>
                  </a:cubicBezTo>
                  <a:cubicBezTo>
                    <a:pt x="549" y="240"/>
                    <a:pt x="583" y="337"/>
                    <a:pt x="588" y="447"/>
                  </a:cubicBezTo>
                  <a:cubicBezTo>
                    <a:pt x="588" y="447"/>
                    <a:pt x="433" y="506"/>
                    <a:pt x="302" y="441"/>
                  </a:cubicBezTo>
                  <a:cubicBezTo>
                    <a:pt x="302" y="441"/>
                    <a:pt x="351" y="317"/>
                    <a:pt x="355" y="292"/>
                  </a:cubicBezTo>
                  <a:cubicBezTo>
                    <a:pt x="362" y="246"/>
                    <a:pt x="316" y="149"/>
                    <a:pt x="316" y="149"/>
                  </a:cubicBezTo>
                  <a:cubicBezTo>
                    <a:pt x="316" y="149"/>
                    <a:pt x="242" y="279"/>
                    <a:pt x="188" y="315"/>
                  </a:cubicBezTo>
                  <a:cubicBezTo>
                    <a:pt x="134" y="352"/>
                    <a:pt x="32" y="365"/>
                    <a:pt x="16" y="294"/>
                  </a:cubicBezTo>
                  <a:cubicBezTo>
                    <a:pt x="0" y="224"/>
                    <a:pt x="69" y="242"/>
                    <a:pt x="69" y="242"/>
                  </a:cubicBezTo>
                  <a:cubicBezTo>
                    <a:pt x="69" y="242"/>
                    <a:pt x="135" y="252"/>
                    <a:pt x="166" y="229"/>
                  </a:cubicBezTo>
                  <a:cubicBezTo>
                    <a:pt x="198" y="206"/>
                    <a:pt x="262" y="51"/>
                    <a:pt x="284" y="31"/>
                  </a:cubicBezTo>
                  <a:cubicBezTo>
                    <a:pt x="305" y="11"/>
                    <a:pt x="402" y="10"/>
                    <a:pt x="429" y="9"/>
                  </a:cubicBezTo>
                </a:path>
              </a:pathLst>
            </a:custGeom>
            <a:solidFill>
              <a:srgbClr val="FF69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28" name="Freeform 109">
              <a:extLst>
                <a:ext uri="{FF2B5EF4-FFF2-40B4-BE49-F238E27FC236}">
                  <a16:creationId xmlns:a16="http://schemas.microsoft.com/office/drawing/2014/main" id="{2EA64DCC-3A5C-4C46-82A6-788AD9B7A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636" y="2666347"/>
              <a:ext cx="712787" cy="566738"/>
            </a:xfrm>
            <a:custGeom>
              <a:avLst/>
              <a:gdLst>
                <a:gd name="T0" fmla="*/ 119 w 286"/>
                <a:gd name="T1" fmla="*/ 5 h 227"/>
                <a:gd name="T2" fmla="*/ 15 w 286"/>
                <a:gd name="T3" fmla="*/ 103 h 227"/>
                <a:gd name="T4" fmla="*/ 160 w 286"/>
                <a:gd name="T5" fmla="*/ 224 h 227"/>
                <a:gd name="T6" fmla="*/ 284 w 286"/>
                <a:gd name="T7" fmla="*/ 103 h 227"/>
                <a:gd name="T8" fmla="*/ 119 w 286"/>
                <a:gd name="T9" fmla="*/ 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6" h="227">
                  <a:moveTo>
                    <a:pt x="119" y="5"/>
                  </a:moveTo>
                  <a:cubicBezTo>
                    <a:pt x="119" y="5"/>
                    <a:pt x="31" y="80"/>
                    <a:pt x="15" y="103"/>
                  </a:cubicBezTo>
                  <a:cubicBezTo>
                    <a:pt x="0" y="125"/>
                    <a:pt x="140" y="227"/>
                    <a:pt x="160" y="224"/>
                  </a:cubicBezTo>
                  <a:cubicBezTo>
                    <a:pt x="180" y="222"/>
                    <a:pt x="286" y="116"/>
                    <a:pt x="284" y="103"/>
                  </a:cubicBezTo>
                  <a:cubicBezTo>
                    <a:pt x="282" y="89"/>
                    <a:pt x="145" y="0"/>
                    <a:pt x="119" y="5"/>
                  </a:cubicBezTo>
                </a:path>
              </a:pathLst>
            </a:custGeom>
            <a:solidFill>
              <a:srgbClr val="EDB4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29" name="Freeform 110">
              <a:extLst>
                <a:ext uri="{FF2B5EF4-FFF2-40B4-BE49-F238E27FC236}">
                  <a16:creationId xmlns:a16="http://schemas.microsoft.com/office/drawing/2014/main" id="{6BB74C33-2833-44E5-B78E-8C980040C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3261" y="1594784"/>
              <a:ext cx="627062" cy="1328738"/>
            </a:xfrm>
            <a:custGeom>
              <a:avLst/>
              <a:gdLst>
                <a:gd name="T0" fmla="*/ 127 w 251"/>
                <a:gd name="T1" fmla="*/ 0 h 533"/>
                <a:gd name="T2" fmla="*/ 151 w 251"/>
                <a:gd name="T3" fmla="*/ 161 h 533"/>
                <a:gd name="T4" fmla="*/ 0 w 251"/>
                <a:gd name="T5" fmla="*/ 511 h 533"/>
                <a:gd name="T6" fmla="*/ 16 w 251"/>
                <a:gd name="T7" fmla="*/ 533 h 533"/>
                <a:gd name="T8" fmla="*/ 142 w 251"/>
                <a:gd name="T9" fmla="*/ 0 h 533"/>
                <a:gd name="T10" fmla="*/ 127 w 251"/>
                <a:gd name="T11" fmla="*/ 0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1" h="533">
                  <a:moveTo>
                    <a:pt x="127" y="0"/>
                  </a:moveTo>
                  <a:cubicBezTo>
                    <a:pt x="127" y="0"/>
                    <a:pt x="160" y="72"/>
                    <a:pt x="151" y="161"/>
                  </a:cubicBezTo>
                  <a:cubicBezTo>
                    <a:pt x="141" y="251"/>
                    <a:pt x="56" y="461"/>
                    <a:pt x="0" y="511"/>
                  </a:cubicBezTo>
                  <a:cubicBezTo>
                    <a:pt x="16" y="533"/>
                    <a:pt x="16" y="533"/>
                    <a:pt x="16" y="533"/>
                  </a:cubicBezTo>
                  <a:cubicBezTo>
                    <a:pt x="16" y="533"/>
                    <a:pt x="251" y="193"/>
                    <a:pt x="142" y="0"/>
                  </a:cubicBezTo>
                  <a:lnTo>
                    <a:pt x="127" y="0"/>
                  </a:lnTo>
                  <a:close/>
                </a:path>
              </a:pathLst>
            </a:custGeom>
            <a:solidFill>
              <a:srgbClr val="EDB4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30" name="Freeform 111">
              <a:extLst>
                <a:ext uri="{FF2B5EF4-FFF2-40B4-BE49-F238E27FC236}">
                  <a16:creationId xmlns:a16="http://schemas.microsoft.com/office/drawing/2014/main" id="{5245F89B-9AFC-4F56-BEDF-AB82B8A69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673" y="2631422"/>
              <a:ext cx="557212" cy="347663"/>
            </a:xfrm>
            <a:custGeom>
              <a:avLst/>
              <a:gdLst>
                <a:gd name="T0" fmla="*/ 224 w 224"/>
                <a:gd name="T1" fmla="*/ 112 h 139"/>
                <a:gd name="T2" fmla="*/ 156 w 224"/>
                <a:gd name="T3" fmla="*/ 62 h 139"/>
                <a:gd name="T4" fmla="*/ 54 w 224"/>
                <a:gd name="T5" fmla="*/ 4 h 139"/>
                <a:gd name="T6" fmla="*/ 0 w 224"/>
                <a:gd name="T7" fmla="*/ 57 h 139"/>
                <a:gd name="T8" fmla="*/ 87 w 224"/>
                <a:gd name="T9" fmla="*/ 139 h 139"/>
                <a:gd name="T10" fmla="*/ 186 w 224"/>
                <a:gd name="T11" fmla="*/ 117 h 139"/>
                <a:gd name="T12" fmla="*/ 224 w 224"/>
                <a:gd name="T13" fmla="*/ 1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139">
                  <a:moveTo>
                    <a:pt x="224" y="112"/>
                  </a:moveTo>
                  <a:cubicBezTo>
                    <a:pt x="224" y="112"/>
                    <a:pt x="192" y="87"/>
                    <a:pt x="156" y="62"/>
                  </a:cubicBezTo>
                  <a:cubicBezTo>
                    <a:pt x="120" y="37"/>
                    <a:pt x="71" y="0"/>
                    <a:pt x="54" y="4"/>
                  </a:cubicBezTo>
                  <a:cubicBezTo>
                    <a:pt x="38" y="7"/>
                    <a:pt x="0" y="44"/>
                    <a:pt x="0" y="57"/>
                  </a:cubicBezTo>
                  <a:cubicBezTo>
                    <a:pt x="0" y="71"/>
                    <a:pt x="63" y="137"/>
                    <a:pt x="87" y="139"/>
                  </a:cubicBezTo>
                  <a:cubicBezTo>
                    <a:pt x="87" y="139"/>
                    <a:pt x="149" y="122"/>
                    <a:pt x="186" y="117"/>
                  </a:cubicBezTo>
                  <a:cubicBezTo>
                    <a:pt x="224" y="112"/>
                    <a:pt x="216" y="124"/>
                    <a:pt x="224" y="112"/>
                  </a:cubicBezTo>
                </a:path>
              </a:pathLst>
            </a:custGeom>
            <a:solidFill>
              <a:srgbClr val="FFD2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31" name="Freeform 112">
              <a:extLst>
                <a:ext uri="{FF2B5EF4-FFF2-40B4-BE49-F238E27FC236}">
                  <a16:creationId xmlns:a16="http://schemas.microsoft.com/office/drawing/2014/main" id="{5F5E4EE9-6E73-42E2-9728-D455E7DB1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0623" y="1477309"/>
              <a:ext cx="184150" cy="195263"/>
            </a:xfrm>
            <a:custGeom>
              <a:avLst/>
              <a:gdLst>
                <a:gd name="T0" fmla="*/ 50 w 74"/>
                <a:gd name="T1" fmla="*/ 18 h 78"/>
                <a:gd name="T2" fmla="*/ 65 w 74"/>
                <a:gd name="T3" fmla="*/ 45 h 78"/>
                <a:gd name="T4" fmla="*/ 58 w 74"/>
                <a:gd name="T5" fmla="*/ 71 h 78"/>
                <a:gd name="T6" fmla="*/ 2 w 74"/>
                <a:gd name="T7" fmla="*/ 45 h 78"/>
                <a:gd name="T8" fmla="*/ 5 w 74"/>
                <a:gd name="T9" fmla="*/ 13 h 78"/>
                <a:gd name="T10" fmla="*/ 50 w 74"/>
                <a:gd name="T11" fmla="*/ 1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78">
                  <a:moveTo>
                    <a:pt x="50" y="18"/>
                  </a:moveTo>
                  <a:cubicBezTo>
                    <a:pt x="50" y="18"/>
                    <a:pt x="57" y="45"/>
                    <a:pt x="65" y="45"/>
                  </a:cubicBezTo>
                  <a:cubicBezTo>
                    <a:pt x="65" y="45"/>
                    <a:pt x="74" y="65"/>
                    <a:pt x="58" y="71"/>
                  </a:cubicBezTo>
                  <a:cubicBezTo>
                    <a:pt x="41" y="78"/>
                    <a:pt x="0" y="50"/>
                    <a:pt x="2" y="45"/>
                  </a:cubicBezTo>
                  <a:cubicBezTo>
                    <a:pt x="3" y="40"/>
                    <a:pt x="7" y="23"/>
                    <a:pt x="5" y="13"/>
                  </a:cubicBezTo>
                  <a:cubicBezTo>
                    <a:pt x="2" y="3"/>
                    <a:pt x="36" y="0"/>
                    <a:pt x="50" y="18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32" name="Freeform 113">
              <a:extLst>
                <a:ext uri="{FF2B5EF4-FFF2-40B4-BE49-F238E27FC236}">
                  <a16:creationId xmlns:a16="http://schemas.microsoft.com/office/drawing/2014/main" id="{64507748-D98C-4185-B533-14ABF0281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6448" y="615297"/>
              <a:ext cx="765175" cy="765175"/>
            </a:xfrm>
            <a:custGeom>
              <a:avLst/>
              <a:gdLst>
                <a:gd name="T0" fmla="*/ 157 w 307"/>
                <a:gd name="T1" fmla="*/ 18 h 307"/>
                <a:gd name="T2" fmla="*/ 285 w 307"/>
                <a:gd name="T3" fmla="*/ 80 h 307"/>
                <a:gd name="T4" fmla="*/ 282 w 307"/>
                <a:gd name="T5" fmla="*/ 198 h 307"/>
                <a:gd name="T6" fmla="*/ 97 w 307"/>
                <a:gd name="T7" fmla="*/ 307 h 307"/>
                <a:gd name="T8" fmla="*/ 19 w 307"/>
                <a:gd name="T9" fmla="*/ 231 h 307"/>
                <a:gd name="T10" fmla="*/ 29 w 307"/>
                <a:gd name="T11" fmla="*/ 83 h 307"/>
                <a:gd name="T12" fmla="*/ 157 w 307"/>
                <a:gd name="T13" fmla="*/ 18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307">
                  <a:moveTo>
                    <a:pt x="157" y="18"/>
                  </a:moveTo>
                  <a:cubicBezTo>
                    <a:pt x="195" y="0"/>
                    <a:pt x="271" y="43"/>
                    <a:pt x="285" y="80"/>
                  </a:cubicBezTo>
                  <a:cubicBezTo>
                    <a:pt x="299" y="117"/>
                    <a:pt x="307" y="172"/>
                    <a:pt x="282" y="198"/>
                  </a:cubicBezTo>
                  <a:cubicBezTo>
                    <a:pt x="256" y="224"/>
                    <a:pt x="97" y="307"/>
                    <a:pt x="97" y="307"/>
                  </a:cubicBezTo>
                  <a:cubicBezTo>
                    <a:pt x="97" y="307"/>
                    <a:pt x="32" y="262"/>
                    <a:pt x="19" y="231"/>
                  </a:cubicBezTo>
                  <a:cubicBezTo>
                    <a:pt x="7" y="201"/>
                    <a:pt x="0" y="135"/>
                    <a:pt x="29" y="83"/>
                  </a:cubicBezTo>
                  <a:cubicBezTo>
                    <a:pt x="58" y="31"/>
                    <a:pt x="115" y="9"/>
                    <a:pt x="157" y="18"/>
                  </a:cubicBezTo>
                </a:path>
              </a:pathLst>
            </a:custGeom>
            <a:solidFill>
              <a:srgbClr val="8645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33" name="Freeform 114">
              <a:extLst>
                <a:ext uri="{FF2B5EF4-FFF2-40B4-BE49-F238E27FC236}">
                  <a16:creationId xmlns:a16="http://schemas.microsoft.com/office/drawing/2014/main" id="{C250CEB3-8202-45A5-BCC6-12093A5A4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8373" y="789922"/>
              <a:ext cx="571500" cy="752475"/>
            </a:xfrm>
            <a:custGeom>
              <a:avLst/>
              <a:gdLst>
                <a:gd name="T0" fmla="*/ 213 w 229"/>
                <a:gd name="T1" fmla="*/ 96 h 302"/>
                <a:gd name="T2" fmla="*/ 213 w 229"/>
                <a:gd name="T3" fmla="*/ 244 h 302"/>
                <a:gd name="T4" fmla="*/ 82 w 229"/>
                <a:gd name="T5" fmla="*/ 286 h 302"/>
                <a:gd name="T6" fmla="*/ 0 w 229"/>
                <a:gd name="T7" fmla="*/ 145 h 302"/>
                <a:gd name="T8" fmla="*/ 97 w 229"/>
                <a:gd name="T9" fmla="*/ 0 h 302"/>
                <a:gd name="T10" fmla="*/ 213 w 229"/>
                <a:gd name="T11" fmla="*/ 9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302">
                  <a:moveTo>
                    <a:pt x="213" y="96"/>
                  </a:moveTo>
                  <a:cubicBezTo>
                    <a:pt x="213" y="96"/>
                    <a:pt x="229" y="205"/>
                    <a:pt x="213" y="244"/>
                  </a:cubicBezTo>
                  <a:cubicBezTo>
                    <a:pt x="189" y="302"/>
                    <a:pt x="115" y="297"/>
                    <a:pt x="82" y="286"/>
                  </a:cubicBezTo>
                  <a:cubicBezTo>
                    <a:pt x="29" y="267"/>
                    <a:pt x="5" y="173"/>
                    <a:pt x="0" y="145"/>
                  </a:cubicBezTo>
                  <a:cubicBezTo>
                    <a:pt x="0" y="145"/>
                    <a:pt x="89" y="108"/>
                    <a:pt x="97" y="0"/>
                  </a:cubicBezTo>
                  <a:cubicBezTo>
                    <a:pt x="97" y="0"/>
                    <a:pt x="171" y="102"/>
                    <a:pt x="213" y="96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34" name="Freeform 115">
              <a:extLst>
                <a:ext uri="{FF2B5EF4-FFF2-40B4-BE49-F238E27FC236}">
                  <a16:creationId xmlns:a16="http://schemas.microsoft.com/office/drawing/2014/main" id="{6A67DF20-7577-4420-B787-85691F8F5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6986" y="1047097"/>
              <a:ext cx="161925" cy="144463"/>
            </a:xfrm>
            <a:custGeom>
              <a:avLst/>
              <a:gdLst>
                <a:gd name="T0" fmla="*/ 2 w 65"/>
                <a:gd name="T1" fmla="*/ 0 h 58"/>
                <a:gd name="T2" fmla="*/ 10 w 65"/>
                <a:gd name="T3" fmla="*/ 39 h 58"/>
                <a:gd name="T4" fmla="*/ 43 w 65"/>
                <a:gd name="T5" fmla="*/ 35 h 58"/>
                <a:gd name="T6" fmla="*/ 36 w 65"/>
                <a:gd name="T7" fmla="*/ 58 h 58"/>
                <a:gd name="T8" fmla="*/ 47 w 65"/>
                <a:gd name="T9" fmla="*/ 29 h 58"/>
                <a:gd name="T10" fmla="*/ 14 w 65"/>
                <a:gd name="T11" fmla="*/ 34 h 58"/>
                <a:gd name="T12" fmla="*/ 2 w 65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58">
                  <a:moveTo>
                    <a:pt x="2" y="0"/>
                  </a:moveTo>
                  <a:cubicBezTo>
                    <a:pt x="2" y="0"/>
                    <a:pt x="0" y="33"/>
                    <a:pt x="10" y="39"/>
                  </a:cubicBezTo>
                  <a:cubicBezTo>
                    <a:pt x="20" y="46"/>
                    <a:pt x="38" y="27"/>
                    <a:pt x="43" y="35"/>
                  </a:cubicBezTo>
                  <a:cubicBezTo>
                    <a:pt x="49" y="43"/>
                    <a:pt x="49" y="53"/>
                    <a:pt x="36" y="58"/>
                  </a:cubicBezTo>
                  <a:cubicBezTo>
                    <a:pt x="36" y="58"/>
                    <a:pt x="65" y="52"/>
                    <a:pt x="47" y="29"/>
                  </a:cubicBezTo>
                  <a:cubicBezTo>
                    <a:pt x="36" y="15"/>
                    <a:pt x="19" y="40"/>
                    <a:pt x="14" y="34"/>
                  </a:cubicBezTo>
                  <a:cubicBezTo>
                    <a:pt x="10" y="28"/>
                    <a:pt x="2" y="8"/>
                    <a:pt x="2" y="0"/>
                  </a:cubicBezTo>
                </a:path>
              </a:pathLst>
            </a:custGeom>
            <a:solidFill>
              <a:srgbClr val="D2A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35" name="Freeform 116">
              <a:extLst>
                <a:ext uri="{FF2B5EF4-FFF2-40B4-BE49-F238E27FC236}">
                  <a16:creationId xmlns:a16="http://schemas.microsoft.com/office/drawing/2014/main" id="{D83E5C6F-7416-4063-803B-B9C520ECD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2523" y="1305859"/>
              <a:ext cx="204787" cy="153988"/>
            </a:xfrm>
            <a:custGeom>
              <a:avLst/>
              <a:gdLst>
                <a:gd name="T0" fmla="*/ 82 w 82"/>
                <a:gd name="T1" fmla="*/ 52 h 62"/>
                <a:gd name="T2" fmla="*/ 65 w 82"/>
                <a:gd name="T3" fmla="*/ 60 h 62"/>
                <a:gd name="T4" fmla="*/ 0 w 82"/>
                <a:gd name="T5" fmla="*/ 0 h 62"/>
                <a:gd name="T6" fmla="*/ 82 w 82"/>
                <a:gd name="T7" fmla="*/ 5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" h="62">
                  <a:moveTo>
                    <a:pt x="82" y="52"/>
                  </a:moveTo>
                  <a:cubicBezTo>
                    <a:pt x="77" y="56"/>
                    <a:pt x="72" y="59"/>
                    <a:pt x="65" y="60"/>
                  </a:cubicBezTo>
                  <a:cubicBezTo>
                    <a:pt x="39" y="62"/>
                    <a:pt x="13" y="24"/>
                    <a:pt x="0" y="0"/>
                  </a:cubicBezTo>
                  <a:cubicBezTo>
                    <a:pt x="22" y="0"/>
                    <a:pt x="68" y="7"/>
                    <a:pt x="82" y="52"/>
                  </a:cubicBezTo>
                </a:path>
              </a:pathLst>
            </a:custGeom>
            <a:solidFill>
              <a:srgbClr val="E4AC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36" name="Freeform 117">
              <a:extLst>
                <a:ext uri="{FF2B5EF4-FFF2-40B4-BE49-F238E27FC236}">
                  <a16:creationId xmlns:a16="http://schemas.microsoft.com/office/drawing/2014/main" id="{DBD71864-74B0-44C9-8318-BCC6DE726B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3473" y="1232834"/>
              <a:ext cx="319087" cy="203200"/>
            </a:xfrm>
            <a:custGeom>
              <a:avLst/>
              <a:gdLst>
                <a:gd name="T0" fmla="*/ 1 w 128"/>
                <a:gd name="T1" fmla="*/ 9 h 81"/>
                <a:gd name="T2" fmla="*/ 128 w 128"/>
                <a:gd name="T3" fmla="*/ 0 h 81"/>
                <a:gd name="T4" fmla="*/ 90 w 128"/>
                <a:gd name="T5" fmla="*/ 81 h 81"/>
                <a:gd name="T6" fmla="*/ 8 w 128"/>
                <a:gd name="T7" fmla="*/ 29 h 81"/>
                <a:gd name="T8" fmla="*/ 1 w 128"/>
                <a:gd name="T9" fmla="*/ 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81">
                  <a:moveTo>
                    <a:pt x="1" y="9"/>
                  </a:moveTo>
                  <a:cubicBezTo>
                    <a:pt x="5" y="6"/>
                    <a:pt x="128" y="0"/>
                    <a:pt x="128" y="0"/>
                  </a:cubicBezTo>
                  <a:cubicBezTo>
                    <a:pt x="128" y="0"/>
                    <a:pt x="116" y="59"/>
                    <a:pt x="90" y="81"/>
                  </a:cubicBezTo>
                  <a:cubicBezTo>
                    <a:pt x="76" y="36"/>
                    <a:pt x="30" y="29"/>
                    <a:pt x="8" y="29"/>
                  </a:cubicBezTo>
                  <a:cubicBezTo>
                    <a:pt x="3" y="18"/>
                    <a:pt x="0" y="9"/>
                    <a:pt x="1" y="9"/>
                  </a:cubicBezTo>
                </a:path>
              </a:pathLst>
            </a:custGeom>
            <a:solidFill>
              <a:srgbClr val="7A43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37" name="Freeform 118">
              <a:extLst>
                <a:ext uri="{FF2B5EF4-FFF2-40B4-BE49-F238E27FC236}">
                  <a16:creationId xmlns:a16="http://schemas.microsoft.com/office/drawing/2014/main" id="{0FE07AD0-D0A3-4498-B481-9759A6449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3311" y="1056622"/>
              <a:ext cx="128587" cy="77788"/>
            </a:xfrm>
            <a:custGeom>
              <a:avLst/>
              <a:gdLst>
                <a:gd name="T0" fmla="*/ 52 w 52"/>
                <a:gd name="T1" fmla="*/ 21 h 31"/>
                <a:gd name="T2" fmla="*/ 24 w 52"/>
                <a:gd name="T3" fmla="*/ 5 h 31"/>
                <a:gd name="T4" fmla="*/ 2 w 52"/>
                <a:gd name="T5" fmla="*/ 31 h 31"/>
                <a:gd name="T6" fmla="*/ 52 w 52"/>
                <a:gd name="T7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31">
                  <a:moveTo>
                    <a:pt x="52" y="21"/>
                  </a:moveTo>
                  <a:cubicBezTo>
                    <a:pt x="52" y="21"/>
                    <a:pt x="40" y="2"/>
                    <a:pt x="24" y="5"/>
                  </a:cubicBezTo>
                  <a:cubicBezTo>
                    <a:pt x="9" y="9"/>
                    <a:pt x="0" y="21"/>
                    <a:pt x="2" y="31"/>
                  </a:cubicBezTo>
                  <a:cubicBezTo>
                    <a:pt x="2" y="31"/>
                    <a:pt x="19" y="0"/>
                    <a:pt x="52" y="21"/>
                  </a:cubicBezTo>
                </a:path>
              </a:pathLst>
            </a:custGeom>
            <a:solidFill>
              <a:srgbClr val="1314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38" name="Freeform 119">
              <a:extLst>
                <a:ext uri="{FF2B5EF4-FFF2-40B4-BE49-F238E27FC236}">
                  <a16:creationId xmlns:a16="http://schemas.microsoft.com/office/drawing/2014/main" id="{4649A88F-FC08-4ED3-8C4B-EA7B199F4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9373" y="1035984"/>
              <a:ext cx="109537" cy="65088"/>
            </a:xfrm>
            <a:custGeom>
              <a:avLst/>
              <a:gdLst>
                <a:gd name="T0" fmla="*/ 44 w 44"/>
                <a:gd name="T1" fmla="*/ 18 h 26"/>
                <a:gd name="T2" fmla="*/ 20 w 44"/>
                <a:gd name="T3" fmla="*/ 4 h 26"/>
                <a:gd name="T4" fmla="*/ 1 w 44"/>
                <a:gd name="T5" fmla="*/ 26 h 26"/>
                <a:gd name="T6" fmla="*/ 44 w 44"/>
                <a:gd name="T7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6">
                  <a:moveTo>
                    <a:pt x="44" y="18"/>
                  </a:moveTo>
                  <a:cubicBezTo>
                    <a:pt x="44" y="18"/>
                    <a:pt x="33" y="1"/>
                    <a:pt x="20" y="4"/>
                  </a:cubicBezTo>
                  <a:cubicBezTo>
                    <a:pt x="7" y="7"/>
                    <a:pt x="0" y="17"/>
                    <a:pt x="1" y="26"/>
                  </a:cubicBezTo>
                  <a:cubicBezTo>
                    <a:pt x="1" y="26"/>
                    <a:pt x="16" y="0"/>
                    <a:pt x="44" y="18"/>
                  </a:cubicBezTo>
                </a:path>
              </a:pathLst>
            </a:custGeom>
            <a:solidFill>
              <a:srgbClr val="1314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39" name="Freeform 120">
              <a:extLst>
                <a:ext uri="{FF2B5EF4-FFF2-40B4-BE49-F238E27FC236}">
                  <a16:creationId xmlns:a16="http://schemas.microsoft.com/office/drawing/2014/main" id="{9E157737-B11A-410B-A86E-1FA87D482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1086" y="916922"/>
              <a:ext cx="122237" cy="87313"/>
            </a:xfrm>
            <a:custGeom>
              <a:avLst/>
              <a:gdLst>
                <a:gd name="T0" fmla="*/ 49 w 49"/>
                <a:gd name="T1" fmla="*/ 11 h 35"/>
                <a:gd name="T2" fmla="*/ 0 w 49"/>
                <a:gd name="T3" fmla="*/ 35 h 35"/>
                <a:gd name="T4" fmla="*/ 49 w 49"/>
                <a:gd name="T5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35">
                  <a:moveTo>
                    <a:pt x="49" y="11"/>
                  </a:moveTo>
                  <a:cubicBezTo>
                    <a:pt x="49" y="11"/>
                    <a:pt x="7" y="23"/>
                    <a:pt x="0" y="35"/>
                  </a:cubicBezTo>
                  <a:cubicBezTo>
                    <a:pt x="0" y="35"/>
                    <a:pt x="0" y="0"/>
                    <a:pt x="49" y="11"/>
                  </a:cubicBezTo>
                </a:path>
              </a:pathLst>
            </a:custGeom>
            <a:solidFill>
              <a:srgbClr val="4424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40" name="Freeform 121">
              <a:extLst>
                <a:ext uri="{FF2B5EF4-FFF2-40B4-BE49-F238E27FC236}">
                  <a16:creationId xmlns:a16="http://schemas.microsoft.com/office/drawing/2014/main" id="{F327ACA9-D241-4793-941A-81E154B2F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6673" y="889934"/>
              <a:ext cx="115887" cy="96838"/>
            </a:xfrm>
            <a:custGeom>
              <a:avLst/>
              <a:gdLst>
                <a:gd name="T0" fmla="*/ 0 w 46"/>
                <a:gd name="T1" fmla="*/ 21 h 39"/>
                <a:gd name="T2" fmla="*/ 46 w 46"/>
                <a:gd name="T3" fmla="*/ 39 h 39"/>
                <a:gd name="T4" fmla="*/ 0 w 46"/>
                <a:gd name="T5" fmla="*/ 2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39">
                  <a:moveTo>
                    <a:pt x="0" y="21"/>
                  </a:moveTo>
                  <a:cubicBezTo>
                    <a:pt x="0" y="21"/>
                    <a:pt x="28" y="0"/>
                    <a:pt x="46" y="39"/>
                  </a:cubicBezTo>
                  <a:cubicBezTo>
                    <a:pt x="46" y="39"/>
                    <a:pt x="23" y="20"/>
                    <a:pt x="0" y="21"/>
                  </a:cubicBezTo>
                </a:path>
              </a:pathLst>
            </a:custGeom>
            <a:solidFill>
              <a:srgbClr val="4424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41" name="Freeform 122">
              <a:extLst>
                <a:ext uri="{FF2B5EF4-FFF2-40B4-BE49-F238E27FC236}">
                  <a16:creationId xmlns:a16="http://schemas.microsoft.com/office/drawing/2014/main" id="{9DF665EA-DA85-496C-8309-B44C6A6CE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0423" y="1101072"/>
              <a:ext cx="174625" cy="201613"/>
            </a:xfrm>
            <a:custGeom>
              <a:avLst/>
              <a:gdLst>
                <a:gd name="T0" fmla="*/ 47 w 70"/>
                <a:gd name="T1" fmla="*/ 21 h 81"/>
                <a:gd name="T2" fmla="*/ 11 w 70"/>
                <a:gd name="T3" fmla="*/ 13 h 81"/>
                <a:gd name="T4" fmla="*/ 29 w 70"/>
                <a:gd name="T5" fmla="*/ 68 h 81"/>
                <a:gd name="T6" fmla="*/ 62 w 70"/>
                <a:gd name="T7" fmla="*/ 68 h 81"/>
                <a:gd name="T8" fmla="*/ 47 w 70"/>
                <a:gd name="T9" fmla="*/ 2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81">
                  <a:moveTo>
                    <a:pt x="47" y="21"/>
                  </a:moveTo>
                  <a:cubicBezTo>
                    <a:pt x="47" y="21"/>
                    <a:pt x="23" y="0"/>
                    <a:pt x="11" y="13"/>
                  </a:cubicBezTo>
                  <a:cubicBezTo>
                    <a:pt x="0" y="27"/>
                    <a:pt x="13" y="62"/>
                    <a:pt x="29" y="68"/>
                  </a:cubicBezTo>
                  <a:cubicBezTo>
                    <a:pt x="45" y="73"/>
                    <a:pt x="55" y="81"/>
                    <a:pt x="62" y="68"/>
                  </a:cubicBezTo>
                  <a:cubicBezTo>
                    <a:pt x="70" y="55"/>
                    <a:pt x="47" y="21"/>
                    <a:pt x="47" y="21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42" name="Freeform 123">
              <a:extLst>
                <a:ext uri="{FF2B5EF4-FFF2-40B4-BE49-F238E27FC236}">
                  <a16:creationId xmlns:a16="http://schemas.microsoft.com/office/drawing/2014/main" id="{44FE6795-537D-4FD8-B46C-9337C2271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1136" y="1029634"/>
              <a:ext cx="69850" cy="201613"/>
            </a:xfrm>
            <a:custGeom>
              <a:avLst/>
              <a:gdLst>
                <a:gd name="T0" fmla="*/ 9 w 28"/>
                <a:gd name="T1" fmla="*/ 18 h 81"/>
                <a:gd name="T2" fmla="*/ 21 w 28"/>
                <a:gd name="T3" fmla="*/ 16 h 81"/>
                <a:gd name="T4" fmla="*/ 14 w 28"/>
                <a:gd name="T5" fmla="*/ 78 h 81"/>
                <a:gd name="T6" fmla="*/ 9 w 28"/>
                <a:gd name="T7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81">
                  <a:moveTo>
                    <a:pt x="9" y="18"/>
                  </a:moveTo>
                  <a:cubicBezTo>
                    <a:pt x="9" y="18"/>
                    <a:pt x="18" y="0"/>
                    <a:pt x="21" y="16"/>
                  </a:cubicBezTo>
                  <a:cubicBezTo>
                    <a:pt x="24" y="32"/>
                    <a:pt x="28" y="75"/>
                    <a:pt x="14" y="78"/>
                  </a:cubicBezTo>
                  <a:cubicBezTo>
                    <a:pt x="0" y="81"/>
                    <a:pt x="9" y="18"/>
                    <a:pt x="9" y="18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43" name="Freeform 124">
              <a:extLst>
                <a:ext uri="{FF2B5EF4-FFF2-40B4-BE49-F238E27FC236}">
                  <a16:creationId xmlns:a16="http://schemas.microsoft.com/office/drawing/2014/main" id="{251B79AA-ECD8-48A1-9F53-A35AFF72B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3286" y="1151872"/>
              <a:ext cx="100012" cy="119063"/>
            </a:xfrm>
            <a:custGeom>
              <a:avLst/>
              <a:gdLst>
                <a:gd name="T0" fmla="*/ 10 w 40"/>
                <a:gd name="T1" fmla="*/ 10 h 48"/>
                <a:gd name="T2" fmla="*/ 36 w 40"/>
                <a:gd name="T3" fmla="*/ 33 h 48"/>
                <a:gd name="T4" fmla="*/ 10 w 40"/>
                <a:gd name="T5" fmla="*/ 37 h 48"/>
                <a:gd name="T6" fmla="*/ 10 w 40"/>
                <a:gd name="T7" fmla="*/ 1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48">
                  <a:moveTo>
                    <a:pt x="10" y="10"/>
                  </a:moveTo>
                  <a:cubicBezTo>
                    <a:pt x="16" y="0"/>
                    <a:pt x="40" y="21"/>
                    <a:pt x="36" y="33"/>
                  </a:cubicBezTo>
                  <a:cubicBezTo>
                    <a:pt x="32" y="44"/>
                    <a:pt x="17" y="48"/>
                    <a:pt x="10" y="37"/>
                  </a:cubicBezTo>
                  <a:cubicBezTo>
                    <a:pt x="0" y="22"/>
                    <a:pt x="6" y="16"/>
                    <a:pt x="10" y="10"/>
                  </a:cubicBezTo>
                </a:path>
              </a:pathLst>
            </a:custGeom>
            <a:solidFill>
              <a:srgbClr val="4E5F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44" name="Freeform 125">
              <a:extLst>
                <a:ext uri="{FF2B5EF4-FFF2-40B4-BE49-F238E27FC236}">
                  <a16:creationId xmlns:a16="http://schemas.microsoft.com/office/drawing/2014/main" id="{ADE8C16F-7B8E-4428-932E-29D413727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7011" y="1093134"/>
              <a:ext cx="69850" cy="87313"/>
            </a:xfrm>
            <a:custGeom>
              <a:avLst/>
              <a:gdLst>
                <a:gd name="T0" fmla="*/ 17 w 28"/>
                <a:gd name="T1" fmla="*/ 3 h 35"/>
                <a:gd name="T2" fmla="*/ 27 w 28"/>
                <a:gd name="T3" fmla="*/ 16 h 35"/>
                <a:gd name="T4" fmla="*/ 9 w 28"/>
                <a:gd name="T5" fmla="*/ 35 h 35"/>
                <a:gd name="T6" fmla="*/ 17 w 28"/>
                <a:gd name="T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35">
                  <a:moveTo>
                    <a:pt x="17" y="3"/>
                  </a:moveTo>
                  <a:cubicBezTo>
                    <a:pt x="17" y="3"/>
                    <a:pt x="26" y="0"/>
                    <a:pt x="27" y="16"/>
                  </a:cubicBezTo>
                  <a:cubicBezTo>
                    <a:pt x="28" y="32"/>
                    <a:pt x="9" y="35"/>
                    <a:pt x="9" y="35"/>
                  </a:cubicBezTo>
                  <a:cubicBezTo>
                    <a:pt x="9" y="35"/>
                    <a:pt x="0" y="11"/>
                    <a:pt x="17" y="3"/>
                  </a:cubicBezTo>
                </a:path>
              </a:pathLst>
            </a:custGeom>
            <a:solidFill>
              <a:srgbClr val="4E5F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45" name="Freeform 126">
              <a:extLst>
                <a:ext uri="{FF2B5EF4-FFF2-40B4-BE49-F238E27FC236}">
                  <a16:creationId xmlns:a16="http://schemas.microsoft.com/office/drawing/2014/main" id="{F09C6AA8-3C27-4D4E-A653-E9E0828B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9748" y="1135997"/>
              <a:ext cx="1116012" cy="1506538"/>
            </a:xfrm>
            <a:custGeom>
              <a:avLst/>
              <a:gdLst>
                <a:gd name="T0" fmla="*/ 164 w 448"/>
                <a:gd name="T1" fmla="*/ 48 h 604"/>
                <a:gd name="T2" fmla="*/ 302 w 448"/>
                <a:gd name="T3" fmla="*/ 215 h 604"/>
                <a:gd name="T4" fmla="*/ 278 w 448"/>
                <a:gd name="T5" fmla="*/ 439 h 604"/>
                <a:gd name="T6" fmla="*/ 126 w 448"/>
                <a:gd name="T7" fmla="*/ 576 h 604"/>
                <a:gd name="T8" fmla="*/ 13 w 448"/>
                <a:gd name="T9" fmla="*/ 499 h 604"/>
                <a:gd name="T10" fmla="*/ 13 w 448"/>
                <a:gd name="T11" fmla="*/ 474 h 604"/>
                <a:gd name="T12" fmla="*/ 0 w 448"/>
                <a:gd name="T13" fmla="*/ 474 h 604"/>
                <a:gd name="T14" fmla="*/ 0 w 448"/>
                <a:gd name="T15" fmla="*/ 498 h 604"/>
                <a:gd name="T16" fmla="*/ 124 w 448"/>
                <a:gd name="T17" fmla="*/ 592 h 604"/>
                <a:gd name="T18" fmla="*/ 295 w 448"/>
                <a:gd name="T19" fmla="*/ 442 h 604"/>
                <a:gd name="T20" fmla="*/ 320 w 448"/>
                <a:gd name="T21" fmla="*/ 217 h 604"/>
                <a:gd name="T22" fmla="*/ 409 w 448"/>
                <a:gd name="T23" fmla="*/ 8 h 604"/>
                <a:gd name="T24" fmla="*/ 402 w 448"/>
                <a:gd name="T25" fmla="*/ 15 h 604"/>
                <a:gd name="T26" fmla="*/ 315 w 448"/>
                <a:gd name="T27" fmla="*/ 203 h 604"/>
                <a:gd name="T28" fmla="*/ 174 w 448"/>
                <a:gd name="T29" fmla="*/ 48 h 604"/>
                <a:gd name="T30" fmla="*/ 164 w 448"/>
                <a:gd name="T31" fmla="*/ 48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8" h="604">
                  <a:moveTo>
                    <a:pt x="164" y="48"/>
                  </a:moveTo>
                  <a:cubicBezTo>
                    <a:pt x="164" y="48"/>
                    <a:pt x="182" y="167"/>
                    <a:pt x="302" y="215"/>
                  </a:cubicBezTo>
                  <a:cubicBezTo>
                    <a:pt x="302" y="215"/>
                    <a:pt x="302" y="355"/>
                    <a:pt x="278" y="439"/>
                  </a:cubicBezTo>
                  <a:cubicBezTo>
                    <a:pt x="253" y="522"/>
                    <a:pt x="198" y="587"/>
                    <a:pt x="126" y="576"/>
                  </a:cubicBezTo>
                  <a:cubicBezTo>
                    <a:pt x="55" y="564"/>
                    <a:pt x="13" y="499"/>
                    <a:pt x="13" y="499"/>
                  </a:cubicBezTo>
                  <a:cubicBezTo>
                    <a:pt x="13" y="474"/>
                    <a:pt x="13" y="474"/>
                    <a:pt x="13" y="474"/>
                  </a:cubicBezTo>
                  <a:cubicBezTo>
                    <a:pt x="0" y="474"/>
                    <a:pt x="0" y="474"/>
                    <a:pt x="0" y="474"/>
                  </a:cubicBezTo>
                  <a:cubicBezTo>
                    <a:pt x="0" y="498"/>
                    <a:pt x="0" y="498"/>
                    <a:pt x="0" y="498"/>
                  </a:cubicBezTo>
                  <a:cubicBezTo>
                    <a:pt x="0" y="498"/>
                    <a:pt x="36" y="579"/>
                    <a:pt x="124" y="592"/>
                  </a:cubicBezTo>
                  <a:cubicBezTo>
                    <a:pt x="213" y="604"/>
                    <a:pt x="265" y="535"/>
                    <a:pt x="295" y="442"/>
                  </a:cubicBezTo>
                  <a:cubicBezTo>
                    <a:pt x="324" y="350"/>
                    <a:pt x="320" y="217"/>
                    <a:pt x="320" y="217"/>
                  </a:cubicBezTo>
                  <a:cubicBezTo>
                    <a:pt x="320" y="217"/>
                    <a:pt x="448" y="153"/>
                    <a:pt x="409" y="8"/>
                  </a:cubicBezTo>
                  <a:cubicBezTo>
                    <a:pt x="409" y="8"/>
                    <a:pt x="399" y="0"/>
                    <a:pt x="402" y="15"/>
                  </a:cubicBezTo>
                  <a:cubicBezTo>
                    <a:pt x="404" y="29"/>
                    <a:pt x="428" y="142"/>
                    <a:pt x="315" y="203"/>
                  </a:cubicBezTo>
                  <a:cubicBezTo>
                    <a:pt x="315" y="203"/>
                    <a:pt x="215" y="175"/>
                    <a:pt x="174" y="48"/>
                  </a:cubicBezTo>
                  <a:cubicBezTo>
                    <a:pt x="174" y="48"/>
                    <a:pt x="165" y="27"/>
                    <a:pt x="164" y="48"/>
                  </a:cubicBezTo>
                </a:path>
              </a:pathLst>
            </a:custGeom>
            <a:solidFill>
              <a:srgbClr val="4E5F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46" name="Freeform 127">
              <a:extLst>
                <a:ext uri="{FF2B5EF4-FFF2-40B4-BE49-F238E27FC236}">
                  <a16:creationId xmlns:a16="http://schemas.microsoft.com/office/drawing/2014/main" id="{17CDE089-134C-4428-80AE-39B737EEE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4973" y="1824972"/>
              <a:ext cx="169862" cy="508000"/>
            </a:xfrm>
            <a:custGeom>
              <a:avLst/>
              <a:gdLst>
                <a:gd name="T0" fmla="*/ 36 w 68"/>
                <a:gd name="T1" fmla="*/ 189 h 204"/>
                <a:gd name="T2" fmla="*/ 21 w 68"/>
                <a:gd name="T3" fmla="*/ 24 h 204"/>
                <a:gd name="T4" fmla="*/ 0 w 68"/>
                <a:gd name="T5" fmla="*/ 2 h 204"/>
                <a:gd name="T6" fmla="*/ 19 w 68"/>
                <a:gd name="T7" fmla="*/ 0 h 204"/>
                <a:gd name="T8" fmla="*/ 42 w 68"/>
                <a:gd name="T9" fmla="*/ 24 h 204"/>
                <a:gd name="T10" fmla="*/ 55 w 68"/>
                <a:gd name="T11" fmla="*/ 198 h 204"/>
                <a:gd name="T12" fmla="*/ 18 w 68"/>
                <a:gd name="T13" fmla="*/ 204 h 204"/>
                <a:gd name="T14" fmla="*/ 36 w 68"/>
                <a:gd name="T15" fmla="*/ 189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204">
                  <a:moveTo>
                    <a:pt x="36" y="189"/>
                  </a:moveTo>
                  <a:cubicBezTo>
                    <a:pt x="41" y="176"/>
                    <a:pt x="26" y="46"/>
                    <a:pt x="21" y="24"/>
                  </a:cubicBezTo>
                  <a:cubicBezTo>
                    <a:pt x="18" y="10"/>
                    <a:pt x="7" y="4"/>
                    <a:pt x="0" y="2"/>
                  </a:cubicBezTo>
                  <a:cubicBezTo>
                    <a:pt x="10" y="0"/>
                    <a:pt x="17" y="0"/>
                    <a:pt x="19" y="0"/>
                  </a:cubicBezTo>
                  <a:cubicBezTo>
                    <a:pt x="27" y="1"/>
                    <a:pt x="36" y="5"/>
                    <a:pt x="42" y="24"/>
                  </a:cubicBezTo>
                  <a:cubicBezTo>
                    <a:pt x="47" y="42"/>
                    <a:pt x="68" y="192"/>
                    <a:pt x="55" y="198"/>
                  </a:cubicBezTo>
                  <a:cubicBezTo>
                    <a:pt x="50" y="200"/>
                    <a:pt x="35" y="202"/>
                    <a:pt x="18" y="204"/>
                  </a:cubicBezTo>
                  <a:cubicBezTo>
                    <a:pt x="25" y="201"/>
                    <a:pt x="33" y="197"/>
                    <a:pt x="36" y="189"/>
                  </a:cubicBezTo>
                </a:path>
              </a:pathLst>
            </a:custGeom>
            <a:solidFill>
              <a:srgbClr val="647F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47" name="Freeform 128">
              <a:extLst>
                <a:ext uri="{FF2B5EF4-FFF2-40B4-BE49-F238E27FC236}">
                  <a16:creationId xmlns:a16="http://schemas.microsoft.com/office/drawing/2014/main" id="{0C0DEABD-0B72-47ED-B30A-21C70D10D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673" y="1829734"/>
              <a:ext cx="342900" cy="515938"/>
            </a:xfrm>
            <a:custGeom>
              <a:avLst/>
              <a:gdLst>
                <a:gd name="T0" fmla="*/ 17 w 138"/>
                <a:gd name="T1" fmla="*/ 12 h 207"/>
                <a:gd name="T2" fmla="*/ 97 w 138"/>
                <a:gd name="T3" fmla="*/ 0 h 207"/>
                <a:gd name="T4" fmla="*/ 118 w 138"/>
                <a:gd name="T5" fmla="*/ 22 h 207"/>
                <a:gd name="T6" fmla="*/ 133 w 138"/>
                <a:gd name="T7" fmla="*/ 187 h 207"/>
                <a:gd name="T8" fmla="*/ 115 w 138"/>
                <a:gd name="T9" fmla="*/ 202 h 207"/>
                <a:gd name="T10" fmla="*/ 41 w 138"/>
                <a:gd name="T11" fmla="*/ 203 h 207"/>
                <a:gd name="T12" fmla="*/ 17 w 138"/>
                <a:gd name="T13" fmla="*/ 12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207">
                  <a:moveTo>
                    <a:pt x="17" y="12"/>
                  </a:moveTo>
                  <a:cubicBezTo>
                    <a:pt x="35" y="9"/>
                    <a:pt x="74" y="3"/>
                    <a:pt x="97" y="0"/>
                  </a:cubicBezTo>
                  <a:cubicBezTo>
                    <a:pt x="104" y="2"/>
                    <a:pt x="115" y="8"/>
                    <a:pt x="118" y="22"/>
                  </a:cubicBezTo>
                  <a:cubicBezTo>
                    <a:pt x="123" y="44"/>
                    <a:pt x="138" y="174"/>
                    <a:pt x="133" y="187"/>
                  </a:cubicBezTo>
                  <a:cubicBezTo>
                    <a:pt x="130" y="195"/>
                    <a:pt x="122" y="199"/>
                    <a:pt x="115" y="202"/>
                  </a:cubicBezTo>
                  <a:cubicBezTo>
                    <a:pt x="86" y="205"/>
                    <a:pt x="50" y="207"/>
                    <a:pt x="41" y="203"/>
                  </a:cubicBezTo>
                  <a:cubicBezTo>
                    <a:pt x="26" y="197"/>
                    <a:pt x="0" y="15"/>
                    <a:pt x="17" y="12"/>
                  </a:cubicBezTo>
                </a:path>
              </a:pathLst>
            </a:custGeom>
            <a:solidFill>
              <a:srgbClr val="4E5F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48" name="Freeform 129">
              <a:extLst>
                <a:ext uri="{FF2B5EF4-FFF2-40B4-BE49-F238E27FC236}">
                  <a16:creationId xmlns:a16="http://schemas.microsoft.com/office/drawing/2014/main" id="{C1634816-4D60-4730-943B-7DC80E5EC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0823" y="1874184"/>
              <a:ext cx="92075" cy="53975"/>
            </a:xfrm>
            <a:custGeom>
              <a:avLst/>
              <a:gdLst>
                <a:gd name="T0" fmla="*/ 1 w 37"/>
                <a:gd name="T1" fmla="*/ 13 h 22"/>
                <a:gd name="T2" fmla="*/ 12 w 37"/>
                <a:gd name="T3" fmla="*/ 22 h 22"/>
                <a:gd name="T4" fmla="*/ 28 w 37"/>
                <a:gd name="T5" fmla="*/ 20 h 22"/>
                <a:gd name="T6" fmla="*/ 37 w 37"/>
                <a:gd name="T7" fmla="*/ 9 h 22"/>
                <a:gd name="T8" fmla="*/ 26 w 37"/>
                <a:gd name="T9" fmla="*/ 0 h 22"/>
                <a:gd name="T10" fmla="*/ 10 w 37"/>
                <a:gd name="T11" fmla="*/ 2 h 22"/>
                <a:gd name="T12" fmla="*/ 1 w 37"/>
                <a:gd name="T13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2">
                  <a:moveTo>
                    <a:pt x="1" y="13"/>
                  </a:moveTo>
                  <a:cubicBezTo>
                    <a:pt x="1" y="18"/>
                    <a:pt x="6" y="22"/>
                    <a:pt x="12" y="22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33" y="20"/>
                    <a:pt x="37" y="15"/>
                    <a:pt x="37" y="9"/>
                  </a:cubicBezTo>
                  <a:cubicBezTo>
                    <a:pt x="37" y="4"/>
                    <a:pt x="32" y="0"/>
                    <a:pt x="26" y="0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5" y="2"/>
                    <a:pt x="0" y="7"/>
                    <a:pt x="1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49" name="Freeform 130">
              <a:extLst>
                <a:ext uri="{FF2B5EF4-FFF2-40B4-BE49-F238E27FC236}">
                  <a16:creationId xmlns:a16="http://schemas.microsoft.com/office/drawing/2014/main" id="{70819D7A-7A55-4D34-BEF7-D3A4E1D59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186" y="1659872"/>
              <a:ext cx="39687" cy="106363"/>
            </a:xfrm>
            <a:custGeom>
              <a:avLst/>
              <a:gdLst>
                <a:gd name="T0" fmla="*/ 16 w 16"/>
                <a:gd name="T1" fmla="*/ 7 h 43"/>
                <a:gd name="T2" fmla="*/ 6 w 16"/>
                <a:gd name="T3" fmla="*/ 5 h 43"/>
                <a:gd name="T4" fmla="*/ 0 w 16"/>
                <a:gd name="T5" fmla="*/ 37 h 43"/>
                <a:gd name="T6" fmla="*/ 10 w 16"/>
                <a:gd name="T7" fmla="*/ 37 h 43"/>
                <a:gd name="T8" fmla="*/ 16 w 16"/>
                <a:gd name="T9" fmla="*/ 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43">
                  <a:moveTo>
                    <a:pt x="16" y="7"/>
                  </a:moveTo>
                  <a:cubicBezTo>
                    <a:pt x="15" y="2"/>
                    <a:pt x="8" y="0"/>
                    <a:pt x="6" y="5"/>
                  </a:cubicBezTo>
                  <a:cubicBezTo>
                    <a:pt x="3" y="14"/>
                    <a:pt x="0" y="26"/>
                    <a:pt x="0" y="37"/>
                  </a:cubicBezTo>
                  <a:cubicBezTo>
                    <a:pt x="0" y="43"/>
                    <a:pt x="9" y="42"/>
                    <a:pt x="10" y="37"/>
                  </a:cubicBezTo>
                  <a:cubicBezTo>
                    <a:pt x="13" y="28"/>
                    <a:pt x="16" y="16"/>
                    <a:pt x="16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50" name="Freeform 131">
              <a:extLst>
                <a:ext uri="{FF2B5EF4-FFF2-40B4-BE49-F238E27FC236}">
                  <a16:creationId xmlns:a16="http://schemas.microsoft.com/office/drawing/2014/main" id="{A17CBFEB-0232-490F-B22C-1122867CA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1786" y="1651934"/>
              <a:ext cx="41275" cy="92075"/>
            </a:xfrm>
            <a:custGeom>
              <a:avLst/>
              <a:gdLst>
                <a:gd name="T0" fmla="*/ 9 w 16"/>
                <a:gd name="T1" fmla="*/ 6 h 37"/>
                <a:gd name="T2" fmla="*/ 0 w 16"/>
                <a:gd name="T3" fmla="*/ 8 h 37"/>
                <a:gd name="T4" fmla="*/ 6 w 16"/>
                <a:gd name="T5" fmla="*/ 33 h 37"/>
                <a:gd name="T6" fmla="*/ 15 w 16"/>
                <a:gd name="T7" fmla="*/ 31 h 37"/>
                <a:gd name="T8" fmla="*/ 9 w 16"/>
                <a:gd name="T9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37">
                  <a:moveTo>
                    <a:pt x="9" y="6"/>
                  </a:moveTo>
                  <a:cubicBezTo>
                    <a:pt x="8" y="0"/>
                    <a:pt x="0" y="3"/>
                    <a:pt x="0" y="8"/>
                  </a:cubicBezTo>
                  <a:cubicBezTo>
                    <a:pt x="0" y="16"/>
                    <a:pt x="2" y="25"/>
                    <a:pt x="6" y="33"/>
                  </a:cubicBezTo>
                  <a:cubicBezTo>
                    <a:pt x="8" y="37"/>
                    <a:pt x="16" y="37"/>
                    <a:pt x="15" y="31"/>
                  </a:cubicBezTo>
                  <a:cubicBezTo>
                    <a:pt x="13" y="23"/>
                    <a:pt x="12" y="14"/>
                    <a:pt x="9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51" name="Freeform 132">
              <a:extLst>
                <a:ext uri="{FF2B5EF4-FFF2-40B4-BE49-F238E27FC236}">
                  <a16:creationId xmlns:a16="http://schemas.microsoft.com/office/drawing/2014/main" id="{0F9EA11E-7088-4DF4-B57C-BB6D803F5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5261" y="1712259"/>
              <a:ext cx="66675" cy="84138"/>
            </a:xfrm>
            <a:custGeom>
              <a:avLst/>
              <a:gdLst>
                <a:gd name="T0" fmla="*/ 24 w 27"/>
                <a:gd name="T1" fmla="*/ 23 h 34"/>
                <a:gd name="T2" fmla="*/ 10 w 27"/>
                <a:gd name="T3" fmla="*/ 3 h 34"/>
                <a:gd name="T4" fmla="*/ 2 w 27"/>
                <a:gd name="T5" fmla="*/ 8 h 34"/>
                <a:gd name="T6" fmla="*/ 17 w 27"/>
                <a:gd name="T7" fmla="*/ 30 h 34"/>
                <a:gd name="T8" fmla="*/ 24 w 27"/>
                <a:gd name="T9" fmla="*/ 2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34">
                  <a:moveTo>
                    <a:pt x="24" y="23"/>
                  </a:moveTo>
                  <a:cubicBezTo>
                    <a:pt x="19" y="17"/>
                    <a:pt x="15" y="9"/>
                    <a:pt x="10" y="3"/>
                  </a:cubicBezTo>
                  <a:cubicBezTo>
                    <a:pt x="7" y="0"/>
                    <a:pt x="0" y="2"/>
                    <a:pt x="2" y="8"/>
                  </a:cubicBezTo>
                  <a:cubicBezTo>
                    <a:pt x="6" y="16"/>
                    <a:pt x="11" y="23"/>
                    <a:pt x="17" y="30"/>
                  </a:cubicBezTo>
                  <a:cubicBezTo>
                    <a:pt x="21" y="34"/>
                    <a:pt x="27" y="28"/>
                    <a:pt x="24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52" name="Freeform 133">
              <a:extLst>
                <a:ext uri="{FF2B5EF4-FFF2-40B4-BE49-F238E27FC236}">
                  <a16:creationId xmlns:a16="http://schemas.microsoft.com/office/drawing/2014/main" id="{AD4183DE-F45F-416C-9280-6D22211D1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8898" y="1834497"/>
              <a:ext cx="66675" cy="47625"/>
            </a:xfrm>
            <a:custGeom>
              <a:avLst/>
              <a:gdLst>
                <a:gd name="T0" fmla="*/ 25 w 27"/>
                <a:gd name="T1" fmla="*/ 11 h 19"/>
                <a:gd name="T2" fmla="*/ 8 w 27"/>
                <a:gd name="T3" fmla="*/ 1 h 19"/>
                <a:gd name="T4" fmla="*/ 2 w 27"/>
                <a:gd name="T5" fmla="*/ 2 h 19"/>
                <a:gd name="T6" fmla="*/ 3 w 27"/>
                <a:gd name="T7" fmla="*/ 9 h 19"/>
                <a:gd name="T8" fmla="*/ 20 w 27"/>
                <a:gd name="T9" fmla="*/ 19 h 19"/>
                <a:gd name="T10" fmla="*/ 25 w 27"/>
                <a:gd name="T11" fmla="*/ 18 h 19"/>
                <a:gd name="T12" fmla="*/ 25 w 27"/>
                <a:gd name="T13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5" y="11"/>
                  </a:moveTo>
                  <a:cubicBezTo>
                    <a:pt x="20" y="7"/>
                    <a:pt x="14" y="3"/>
                    <a:pt x="8" y="1"/>
                  </a:cubicBezTo>
                  <a:cubicBezTo>
                    <a:pt x="6" y="0"/>
                    <a:pt x="4" y="0"/>
                    <a:pt x="2" y="2"/>
                  </a:cubicBezTo>
                  <a:cubicBezTo>
                    <a:pt x="0" y="4"/>
                    <a:pt x="0" y="7"/>
                    <a:pt x="3" y="9"/>
                  </a:cubicBezTo>
                  <a:cubicBezTo>
                    <a:pt x="8" y="13"/>
                    <a:pt x="13" y="17"/>
                    <a:pt x="20" y="19"/>
                  </a:cubicBezTo>
                  <a:cubicBezTo>
                    <a:pt x="22" y="19"/>
                    <a:pt x="24" y="19"/>
                    <a:pt x="25" y="18"/>
                  </a:cubicBezTo>
                  <a:cubicBezTo>
                    <a:pt x="27" y="16"/>
                    <a:pt x="27" y="12"/>
                    <a:pt x="25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  <p:sp>
          <p:nvSpPr>
            <p:cNvPr id="353" name="Freeform 134">
              <a:extLst>
                <a:ext uri="{FF2B5EF4-FFF2-40B4-BE49-F238E27FC236}">
                  <a16:creationId xmlns:a16="http://schemas.microsoft.com/office/drawing/2014/main" id="{87BB7F8D-236A-417D-B40E-55F5DC6D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0498" y="1921809"/>
              <a:ext cx="311150" cy="371475"/>
            </a:xfrm>
            <a:custGeom>
              <a:avLst/>
              <a:gdLst>
                <a:gd name="T0" fmla="*/ 12 w 125"/>
                <a:gd name="T1" fmla="*/ 0 h 149"/>
                <a:gd name="T2" fmla="*/ 21 w 125"/>
                <a:gd name="T3" fmla="*/ 28 h 149"/>
                <a:gd name="T4" fmla="*/ 56 w 125"/>
                <a:gd name="T5" fmla="*/ 34 h 149"/>
                <a:gd name="T6" fmla="*/ 107 w 125"/>
                <a:gd name="T7" fmla="*/ 45 h 149"/>
                <a:gd name="T8" fmla="*/ 78 w 125"/>
                <a:gd name="T9" fmla="*/ 65 h 149"/>
                <a:gd name="T10" fmla="*/ 41 w 125"/>
                <a:gd name="T11" fmla="*/ 75 h 149"/>
                <a:gd name="T12" fmla="*/ 74 w 125"/>
                <a:gd name="T13" fmla="*/ 81 h 149"/>
                <a:gd name="T14" fmla="*/ 121 w 125"/>
                <a:gd name="T15" fmla="*/ 90 h 149"/>
                <a:gd name="T16" fmla="*/ 94 w 125"/>
                <a:gd name="T17" fmla="*/ 111 h 149"/>
                <a:gd name="T18" fmla="*/ 52 w 125"/>
                <a:gd name="T19" fmla="*/ 118 h 149"/>
                <a:gd name="T20" fmla="*/ 79 w 125"/>
                <a:gd name="T21" fmla="*/ 125 h 149"/>
                <a:gd name="T22" fmla="*/ 112 w 125"/>
                <a:gd name="T23" fmla="*/ 135 h 149"/>
                <a:gd name="T24" fmla="*/ 62 w 125"/>
                <a:gd name="T25" fmla="*/ 149 h 149"/>
                <a:gd name="T26" fmla="*/ 21 w 125"/>
                <a:gd name="T27" fmla="*/ 135 h 149"/>
                <a:gd name="T28" fmla="*/ 1 w 125"/>
                <a:gd name="T29" fmla="*/ 46 h 149"/>
                <a:gd name="T30" fmla="*/ 12 w 125"/>
                <a:gd name="T3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5" h="149">
                  <a:moveTo>
                    <a:pt x="12" y="0"/>
                  </a:moveTo>
                  <a:cubicBezTo>
                    <a:pt x="12" y="0"/>
                    <a:pt x="10" y="24"/>
                    <a:pt x="21" y="28"/>
                  </a:cubicBezTo>
                  <a:cubicBezTo>
                    <a:pt x="31" y="33"/>
                    <a:pt x="33" y="39"/>
                    <a:pt x="56" y="34"/>
                  </a:cubicBezTo>
                  <a:cubicBezTo>
                    <a:pt x="79" y="29"/>
                    <a:pt x="104" y="37"/>
                    <a:pt x="107" y="45"/>
                  </a:cubicBezTo>
                  <a:cubicBezTo>
                    <a:pt x="110" y="52"/>
                    <a:pt x="94" y="65"/>
                    <a:pt x="78" y="65"/>
                  </a:cubicBezTo>
                  <a:cubicBezTo>
                    <a:pt x="62" y="66"/>
                    <a:pt x="41" y="68"/>
                    <a:pt x="41" y="75"/>
                  </a:cubicBezTo>
                  <a:cubicBezTo>
                    <a:pt x="41" y="82"/>
                    <a:pt x="56" y="84"/>
                    <a:pt x="74" y="81"/>
                  </a:cubicBezTo>
                  <a:cubicBezTo>
                    <a:pt x="91" y="78"/>
                    <a:pt x="116" y="77"/>
                    <a:pt x="121" y="90"/>
                  </a:cubicBezTo>
                  <a:cubicBezTo>
                    <a:pt x="125" y="104"/>
                    <a:pt x="109" y="109"/>
                    <a:pt x="94" y="111"/>
                  </a:cubicBezTo>
                  <a:cubicBezTo>
                    <a:pt x="79" y="113"/>
                    <a:pt x="55" y="114"/>
                    <a:pt x="52" y="118"/>
                  </a:cubicBezTo>
                  <a:cubicBezTo>
                    <a:pt x="49" y="122"/>
                    <a:pt x="67" y="127"/>
                    <a:pt x="79" y="125"/>
                  </a:cubicBezTo>
                  <a:cubicBezTo>
                    <a:pt x="90" y="124"/>
                    <a:pt x="111" y="125"/>
                    <a:pt x="112" y="135"/>
                  </a:cubicBezTo>
                  <a:cubicBezTo>
                    <a:pt x="113" y="145"/>
                    <a:pt x="81" y="149"/>
                    <a:pt x="62" y="149"/>
                  </a:cubicBezTo>
                  <a:cubicBezTo>
                    <a:pt x="43" y="149"/>
                    <a:pt x="28" y="143"/>
                    <a:pt x="21" y="135"/>
                  </a:cubicBezTo>
                  <a:cubicBezTo>
                    <a:pt x="13" y="127"/>
                    <a:pt x="0" y="71"/>
                    <a:pt x="1" y="46"/>
                  </a:cubicBezTo>
                  <a:cubicBezTo>
                    <a:pt x="2" y="20"/>
                    <a:pt x="12" y="0"/>
                    <a:pt x="12" y="0"/>
                  </a:cubicBezTo>
                </a:path>
              </a:pathLst>
            </a:custGeom>
            <a:solidFill>
              <a:srgbClr val="FFE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99251" tIns="149626" rIns="299251" bIns="149626" numCol="1" anchor="t" anchorCtr="0" compatLnSpc="1">
              <a:prstTxWarp prst="textNoShape">
                <a:avLst/>
              </a:prstTxWarp>
            </a:bodyPr>
            <a:lstStyle/>
            <a:p>
              <a:endParaRPr lang="id-ID" sz="26836"/>
            </a:p>
          </p:txBody>
        </p:sp>
      </p:grpSp>
      <p:grpSp>
        <p:nvGrpSpPr>
          <p:cNvPr id="354" name="Group 235">
            <a:extLst>
              <a:ext uri="{FF2B5EF4-FFF2-40B4-BE49-F238E27FC236}">
                <a16:creationId xmlns:a16="http://schemas.microsoft.com/office/drawing/2014/main" id="{0B00F590-A69E-480B-8F8D-C59E527796BF}"/>
              </a:ext>
            </a:extLst>
          </p:cNvPr>
          <p:cNvGrpSpPr/>
          <p:nvPr/>
        </p:nvGrpSpPr>
        <p:grpSpPr>
          <a:xfrm>
            <a:off x="1298627" y="1984097"/>
            <a:ext cx="949338" cy="941498"/>
            <a:chOff x="9105899" y="2816226"/>
            <a:chExt cx="3495674" cy="2413000"/>
          </a:xfrm>
        </p:grpSpPr>
        <p:sp>
          <p:nvSpPr>
            <p:cNvPr id="355" name="Freeform 5">
              <a:extLst>
                <a:ext uri="{FF2B5EF4-FFF2-40B4-BE49-F238E27FC236}">
                  <a16:creationId xmlns:a16="http://schemas.microsoft.com/office/drawing/2014/main" id="{66008F1D-BDBD-4722-AB33-EF0AF38C6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5899" y="3579813"/>
              <a:ext cx="3495674" cy="1649413"/>
            </a:xfrm>
            <a:custGeom>
              <a:avLst/>
              <a:gdLst>
                <a:gd name="T0" fmla="*/ 771 w 929"/>
                <a:gd name="T1" fmla="*/ 254 h 438"/>
                <a:gd name="T2" fmla="*/ 629 w 929"/>
                <a:gd name="T3" fmla="*/ 337 h 438"/>
                <a:gd name="T4" fmla="*/ 623 w 929"/>
                <a:gd name="T5" fmla="*/ 341 h 438"/>
                <a:gd name="T6" fmla="*/ 621 w 929"/>
                <a:gd name="T7" fmla="*/ 345 h 438"/>
                <a:gd name="T8" fmla="*/ 624 w 929"/>
                <a:gd name="T9" fmla="*/ 351 h 438"/>
                <a:gd name="T10" fmla="*/ 627 w 929"/>
                <a:gd name="T11" fmla="*/ 356 h 438"/>
                <a:gd name="T12" fmla="*/ 619 w 929"/>
                <a:gd name="T13" fmla="*/ 364 h 438"/>
                <a:gd name="T14" fmla="*/ 324 w 929"/>
                <a:gd name="T15" fmla="*/ 434 h 438"/>
                <a:gd name="T16" fmla="*/ 305 w 929"/>
                <a:gd name="T17" fmla="*/ 434 h 438"/>
                <a:gd name="T18" fmla="*/ 234 w 929"/>
                <a:gd name="T19" fmla="*/ 394 h 438"/>
                <a:gd name="T20" fmla="*/ 229 w 929"/>
                <a:gd name="T21" fmla="*/ 380 h 438"/>
                <a:gd name="T22" fmla="*/ 233 w 929"/>
                <a:gd name="T23" fmla="*/ 374 h 438"/>
                <a:gd name="T24" fmla="*/ 227 w 929"/>
                <a:gd name="T25" fmla="*/ 361 h 438"/>
                <a:gd name="T26" fmla="*/ 133 w 929"/>
                <a:gd name="T27" fmla="*/ 306 h 438"/>
                <a:gd name="T28" fmla="*/ 110 w 929"/>
                <a:gd name="T29" fmla="*/ 303 h 438"/>
                <a:gd name="T30" fmla="*/ 99 w 929"/>
                <a:gd name="T31" fmla="*/ 305 h 438"/>
                <a:gd name="T32" fmla="*/ 76 w 929"/>
                <a:gd name="T33" fmla="*/ 302 h 438"/>
                <a:gd name="T34" fmla="*/ 6 w 929"/>
                <a:gd name="T35" fmla="*/ 262 h 438"/>
                <a:gd name="T36" fmla="*/ 6 w 929"/>
                <a:gd name="T37" fmla="*/ 250 h 438"/>
                <a:gd name="T38" fmla="*/ 131 w 929"/>
                <a:gd name="T39" fmla="*/ 177 h 438"/>
                <a:gd name="T40" fmla="*/ 154 w 929"/>
                <a:gd name="T41" fmla="*/ 174 h 438"/>
                <a:gd name="T42" fmla="*/ 169 w 929"/>
                <a:gd name="T43" fmla="*/ 177 h 438"/>
                <a:gd name="T44" fmla="*/ 192 w 929"/>
                <a:gd name="T45" fmla="*/ 174 h 438"/>
                <a:gd name="T46" fmla="*/ 285 w 929"/>
                <a:gd name="T47" fmla="*/ 120 h 438"/>
                <a:gd name="T48" fmla="*/ 290 w 929"/>
                <a:gd name="T49" fmla="*/ 106 h 438"/>
                <a:gd name="T50" fmla="*/ 285 w 929"/>
                <a:gd name="T51" fmla="*/ 98 h 438"/>
                <a:gd name="T52" fmla="*/ 291 w 929"/>
                <a:gd name="T53" fmla="*/ 85 h 438"/>
                <a:gd name="T54" fmla="*/ 416 w 929"/>
                <a:gd name="T55" fmla="*/ 12 h 438"/>
                <a:gd name="T56" fmla="*/ 625 w 929"/>
                <a:gd name="T57" fmla="*/ 3 h 438"/>
                <a:gd name="T58" fmla="*/ 695 w 929"/>
                <a:gd name="T59" fmla="*/ 44 h 438"/>
                <a:gd name="T60" fmla="*/ 701 w 929"/>
                <a:gd name="T61" fmla="*/ 57 h 438"/>
                <a:gd name="T62" fmla="*/ 697 w 929"/>
                <a:gd name="T63" fmla="*/ 63 h 438"/>
                <a:gd name="T64" fmla="*/ 702 w 929"/>
                <a:gd name="T65" fmla="*/ 77 h 438"/>
                <a:gd name="T66" fmla="*/ 796 w 929"/>
                <a:gd name="T67" fmla="*/ 131 h 438"/>
                <a:gd name="T68" fmla="*/ 819 w 929"/>
                <a:gd name="T69" fmla="*/ 134 h 438"/>
                <a:gd name="T70" fmla="*/ 830 w 929"/>
                <a:gd name="T71" fmla="*/ 132 h 438"/>
                <a:gd name="T72" fmla="*/ 853 w 929"/>
                <a:gd name="T73" fmla="*/ 135 h 438"/>
                <a:gd name="T74" fmla="*/ 924 w 929"/>
                <a:gd name="T75" fmla="*/ 176 h 438"/>
                <a:gd name="T76" fmla="*/ 924 w 929"/>
                <a:gd name="T77" fmla="*/ 187 h 438"/>
                <a:gd name="T78" fmla="*/ 808 w 929"/>
                <a:gd name="T79" fmla="*/ 254 h 438"/>
                <a:gd name="T80" fmla="*/ 804 w 929"/>
                <a:gd name="T81" fmla="*/ 253 h 438"/>
                <a:gd name="T82" fmla="*/ 786 w 929"/>
                <a:gd name="T83" fmla="*/ 250 h 438"/>
                <a:gd name="T84" fmla="*/ 777 w 929"/>
                <a:gd name="T85" fmla="*/ 251 h 438"/>
                <a:gd name="T86" fmla="*/ 771 w 929"/>
                <a:gd name="T87" fmla="*/ 254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29" h="438">
                  <a:moveTo>
                    <a:pt x="771" y="254"/>
                  </a:moveTo>
                  <a:cubicBezTo>
                    <a:pt x="629" y="337"/>
                    <a:pt x="629" y="337"/>
                    <a:pt x="629" y="337"/>
                  </a:cubicBezTo>
                  <a:cubicBezTo>
                    <a:pt x="623" y="341"/>
                    <a:pt x="623" y="341"/>
                    <a:pt x="623" y="341"/>
                  </a:cubicBezTo>
                  <a:cubicBezTo>
                    <a:pt x="621" y="342"/>
                    <a:pt x="620" y="344"/>
                    <a:pt x="621" y="345"/>
                  </a:cubicBezTo>
                  <a:cubicBezTo>
                    <a:pt x="624" y="351"/>
                    <a:pt x="624" y="351"/>
                    <a:pt x="624" y="351"/>
                  </a:cubicBezTo>
                  <a:cubicBezTo>
                    <a:pt x="627" y="356"/>
                    <a:pt x="627" y="356"/>
                    <a:pt x="627" y="356"/>
                  </a:cubicBezTo>
                  <a:cubicBezTo>
                    <a:pt x="628" y="357"/>
                    <a:pt x="627" y="359"/>
                    <a:pt x="619" y="364"/>
                  </a:cubicBezTo>
                  <a:cubicBezTo>
                    <a:pt x="324" y="434"/>
                    <a:pt x="324" y="434"/>
                    <a:pt x="324" y="434"/>
                  </a:cubicBezTo>
                  <a:cubicBezTo>
                    <a:pt x="319" y="438"/>
                    <a:pt x="310" y="438"/>
                    <a:pt x="305" y="434"/>
                  </a:cubicBezTo>
                  <a:cubicBezTo>
                    <a:pt x="234" y="394"/>
                    <a:pt x="234" y="394"/>
                    <a:pt x="234" y="394"/>
                  </a:cubicBezTo>
                  <a:cubicBezTo>
                    <a:pt x="229" y="391"/>
                    <a:pt x="226" y="385"/>
                    <a:pt x="229" y="380"/>
                  </a:cubicBezTo>
                  <a:cubicBezTo>
                    <a:pt x="233" y="374"/>
                    <a:pt x="233" y="374"/>
                    <a:pt x="233" y="374"/>
                  </a:cubicBezTo>
                  <a:cubicBezTo>
                    <a:pt x="235" y="370"/>
                    <a:pt x="233" y="364"/>
                    <a:pt x="227" y="361"/>
                  </a:cubicBezTo>
                  <a:cubicBezTo>
                    <a:pt x="133" y="306"/>
                    <a:pt x="133" y="306"/>
                    <a:pt x="133" y="306"/>
                  </a:cubicBezTo>
                  <a:cubicBezTo>
                    <a:pt x="128" y="303"/>
                    <a:pt x="117" y="302"/>
                    <a:pt x="110" y="303"/>
                  </a:cubicBezTo>
                  <a:cubicBezTo>
                    <a:pt x="99" y="305"/>
                    <a:pt x="99" y="305"/>
                    <a:pt x="99" y="305"/>
                  </a:cubicBezTo>
                  <a:cubicBezTo>
                    <a:pt x="92" y="307"/>
                    <a:pt x="81" y="305"/>
                    <a:pt x="76" y="302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0" y="259"/>
                    <a:pt x="0" y="254"/>
                    <a:pt x="6" y="250"/>
                  </a:cubicBezTo>
                  <a:cubicBezTo>
                    <a:pt x="131" y="177"/>
                    <a:pt x="131" y="177"/>
                    <a:pt x="131" y="177"/>
                  </a:cubicBezTo>
                  <a:cubicBezTo>
                    <a:pt x="136" y="174"/>
                    <a:pt x="147" y="173"/>
                    <a:pt x="154" y="174"/>
                  </a:cubicBezTo>
                  <a:cubicBezTo>
                    <a:pt x="169" y="177"/>
                    <a:pt x="169" y="177"/>
                    <a:pt x="169" y="177"/>
                  </a:cubicBezTo>
                  <a:cubicBezTo>
                    <a:pt x="176" y="179"/>
                    <a:pt x="186" y="177"/>
                    <a:pt x="192" y="174"/>
                  </a:cubicBezTo>
                  <a:cubicBezTo>
                    <a:pt x="285" y="120"/>
                    <a:pt x="285" y="120"/>
                    <a:pt x="285" y="120"/>
                  </a:cubicBezTo>
                  <a:cubicBezTo>
                    <a:pt x="290" y="117"/>
                    <a:pt x="293" y="111"/>
                    <a:pt x="290" y="106"/>
                  </a:cubicBezTo>
                  <a:cubicBezTo>
                    <a:pt x="285" y="98"/>
                    <a:pt x="285" y="98"/>
                    <a:pt x="285" y="98"/>
                  </a:cubicBezTo>
                  <a:cubicBezTo>
                    <a:pt x="283" y="94"/>
                    <a:pt x="285" y="88"/>
                    <a:pt x="291" y="85"/>
                  </a:cubicBezTo>
                  <a:cubicBezTo>
                    <a:pt x="416" y="12"/>
                    <a:pt x="416" y="12"/>
                    <a:pt x="416" y="12"/>
                  </a:cubicBezTo>
                  <a:cubicBezTo>
                    <a:pt x="421" y="9"/>
                    <a:pt x="619" y="0"/>
                    <a:pt x="625" y="3"/>
                  </a:cubicBezTo>
                  <a:cubicBezTo>
                    <a:pt x="695" y="44"/>
                    <a:pt x="695" y="44"/>
                    <a:pt x="695" y="44"/>
                  </a:cubicBezTo>
                  <a:cubicBezTo>
                    <a:pt x="701" y="47"/>
                    <a:pt x="703" y="53"/>
                    <a:pt x="701" y="57"/>
                  </a:cubicBezTo>
                  <a:cubicBezTo>
                    <a:pt x="697" y="63"/>
                    <a:pt x="697" y="63"/>
                    <a:pt x="697" y="63"/>
                  </a:cubicBezTo>
                  <a:cubicBezTo>
                    <a:pt x="694" y="68"/>
                    <a:pt x="697" y="74"/>
                    <a:pt x="702" y="77"/>
                  </a:cubicBezTo>
                  <a:cubicBezTo>
                    <a:pt x="796" y="131"/>
                    <a:pt x="796" y="131"/>
                    <a:pt x="796" y="131"/>
                  </a:cubicBezTo>
                  <a:cubicBezTo>
                    <a:pt x="802" y="134"/>
                    <a:pt x="812" y="136"/>
                    <a:pt x="819" y="134"/>
                  </a:cubicBezTo>
                  <a:cubicBezTo>
                    <a:pt x="830" y="132"/>
                    <a:pt x="830" y="132"/>
                    <a:pt x="830" y="132"/>
                  </a:cubicBezTo>
                  <a:cubicBezTo>
                    <a:pt x="838" y="131"/>
                    <a:pt x="848" y="132"/>
                    <a:pt x="853" y="135"/>
                  </a:cubicBezTo>
                  <a:cubicBezTo>
                    <a:pt x="924" y="176"/>
                    <a:pt x="924" y="176"/>
                    <a:pt x="924" y="176"/>
                  </a:cubicBezTo>
                  <a:cubicBezTo>
                    <a:pt x="929" y="179"/>
                    <a:pt x="929" y="184"/>
                    <a:pt x="924" y="187"/>
                  </a:cubicBezTo>
                  <a:cubicBezTo>
                    <a:pt x="808" y="254"/>
                    <a:pt x="808" y="254"/>
                    <a:pt x="808" y="254"/>
                  </a:cubicBezTo>
                  <a:cubicBezTo>
                    <a:pt x="806" y="254"/>
                    <a:pt x="805" y="253"/>
                    <a:pt x="804" y="253"/>
                  </a:cubicBezTo>
                  <a:cubicBezTo>
                    <a:pt x="786" y="250"/>
                    <a:pt x="786" y="250"/>
                    <a:pt x="786" y="250"/>
                  </a:cubicBezTo>
                  <a:cubicBezTo>
                    <a:pt x="783" y="249"/>
                    <a:pt x="779" y="250"/>
                    <a:pt x="777" y="251"/>
                  </a:cubicBezTo>
                  <a:lnTo>
                    <a:pt x="771" y="254"/>
                  </a:lnTo>
                  <a:close/>
                </a:path>
              </a:pathLst>
            </a:custGeom>
            <a:solidFill>
              <a:schemeClr val="tx1">
                <a:alpha val="10000"/>
              </a:schemeClr>
            </a:solidFill>
            <a:ln>
              <a:noFill/>
            </a:ln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56" name="Freeform 6">
              <a:extLst>
                <a:ext uri="{FF2B5EF4-FFF2-40B4-BE49-F238E27FC236}">
                  <a16:creationId xmlns:a16="http://schemas.microsoft.com/office/drawing/2014/main" id="{F46E69B4-59C7-4F84-BC5F-1CC2D9E10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4073" y="3433763"/>
              <a:ext cx="19050" cy="425450"/>
            </a:xfrm>
            <a:custGeom>
              <a:avLst/>
              <a:gdLst>
                <a:gd name="T0" fmla="*/ 5 w 5"/>
                <a:gd name="T1" fmla="*/ 4 h 113"/>
                <a:gd name="T2" fmla="*/ 1 w 5"/>
                <a:gd name="T3" fmla="*/ 10 h 113"/>
                <a:gd name="T4" fmla="*/ 0 w 5"/>
                <a:gd name="T5" fmla="*/ 14 h 113"/>
                <a:gd name="T6" fmla="*/ 0 w 5"/>
                <a:gd name="T7" fmla="*/ 113 h 113"/>
                <a:gd name="T8" fmla="*/ 0 w 5"/>
                <a:gd name="T9" fmla="*/ 110 h 113"/>
                <a:gd name="T10" fmla="*/ 4 w 5"/>
                <a:gd name="T11" fmla="*/ 103 h 113"/>
                <a:gd name="T12" fmla="*/ 5 w 5"/>
                <a:gd name="T13" fmla="*/ 100 h 113"/>
                <a:gd name="T14" fmla="*/ 5 w 5"/>
                <a:gd name="T15" fmla="*/ 0 h 113"/>
                <a:gd name="T16" fmla="*/ 5 w 5"/>
                <a:gd name="T17" fmla="*/ 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113">
                  <a:moveTo>
                    <a:pt x="5" y="4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3"/>
                    <a:pt x="0" y="1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2"/>
                    <a:pt x="0" y="111"/>
                    <a:pt x="0" y="110"/>
                  </a:cubicBezTo>
                  <a:cubicBezTo>
                    <a:pt x="4" y="103"/>
                    <a:pt x="4" y="103"/>
                    <a:pt x="4" y="103"/>
                  </a:cubicBezTo>
                  <a:cubicBezTo>
                    <a:pt x="5" y="102"/>
                    <a:pt x="5" y="101"/>
                    <a:pt x="5" y="10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3"/>
                    <a:pt x="5" y="4"/>
                  </a:cubicBezTo>
                  <a:close/>
                </a:path>
              </a:pathLst>
            </a:custGeom>
            <a:solidFill>
              <a:srgbClr val="9E9F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57" name="Freeform 7">
              <a:extLst>
                <a:ext uri="{FF2B5EF4-FFF2-40B4-BE49-F238E27FC236}">
                  <a16:creationId xmlns:a16="http://schemas.microsoft.com/office/drawing/2014/main" id="{71DE3541-6952-4715-91AC-3A6446F5A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4286" y="3554413"/>
              <a:ext cx="26987" cy="436563"/>
            </a:xfrm>
            <a:custGeom>
              <a:avLst/>
              <a:gdLst>
                <a:gd name="T0" fmla="*/ 1 w 7"/>
                <a:gd name="T1" fmla="*/ 4 h 116"/>
                <a:gd name="T2" fmla="*/ 0 w 7"/>
                <a:gd name="T3" fmla="*/ 0 h 116"/>
                <a:gd name="T4" fmla="*/ 0 w 7"/>
                <a:gd name="T5" fmla="*/ 100 h 116"/>
                <a:gd name="T6" fmla="*/ 1 w 7"/>
                <a:gd name="T7" fmla="*/ 104 h 116"/>
                <a:gd name="T8" fmla="*/ 6 w 7"/>
                <a:gd name="T9" fmla="*/ 112 h 116"/>
                <a:gd name="T10" fmla="*/ 7 w 7"/>
                <a:gd name="T11" fmla="*/ 116 h 116"/>
                <a:gd name="T12" fmla="*/ 7 w 7"/>
                <a:gd name="T13" fmla="*/ 16 h 116"/>
                <a:gd name="T14" fmla="*/ 6 w 7"/>
                <a:gd name="T15" fmla="*/ 13 h 116"/>
                <a:gd name="T16" fmla="*/ 1 w 7"/>
                <a:gd name="T17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116">
                  <a:moveTo>
                    <a:pt x="1" y="4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1"/>
                    <a:pt x="0" y="102"/>
                    <a:pt x="1" y="104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7" y="113"/>
                    <a:pt x="7" y="114"/>
                    <a:pt x="7" y="1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5"/>
                    <a:pt x="7" y="14"/>
                    <a:pt x="6" y="13"/>
                  </a:cubicBezTo>
                  <a:lnTo>
                    <a:pt x="1" y="4"/>
                  </a:lnTo>
                  <a:close/>
                </a:path>
              </a:pathLst>
            </a:custGeom>
            <a:solidFill>
              <a:srgbClr val="7B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58" name="Freeform 8">
              <a:extLst>
                <a:ext uri="{FF2B5EF4-FFF2-40B4-BE49-F238E27FC236}">
                  <a16:creationId xmlns:a16="http://schemas.microsoft.com/office/drawing/2014/main" id="{5B959D2F-BD4A-4207-94E1-6E96D5A41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0224" y="3475038"/>
              <a:ext cx="820737" cy="850900"/>
            </a:xfrm>
            <a:custGeom>
              <a:avLst/>
              <a:gdLst>
                <a:gd name="T0" fmla="*/ 218 w 218"/>
                <a:gd name="T1" fmla="*/ 121 h 226"/>
                <a:gd name="T2" fmla="*/ 218 w 218"/>
                <a:gd name="T3" fmla="*/ 121 h 226"/>
                <a:gd name="T4" fmla="*/ 214 w 218"/>
                <a:gd name="T5" fmla="*/ 115 h 226"/>
                <a:gd name="T6" fmla="*/ 19 w 218"/>
                <a:gd name="T7" fmla="*/ 3 h 226"/>
                <a:gd name="T8" fmla="*/ 0 w 218"/>
                <a:gd name="T9" fmla="*/ 3 h 226"/>
                <a:gd name="T10" fmla="*/ 0 w 218"/>
                <a:gd name="T11" fmla="*/ 102 h 226"/>
                <a:gd name="T12" fmla="*/ 19 w 218"/>
                <a:gd name="T13" fmla="*/ 102 h 226"/>
                <a:gd name="T14" fmla="*/ 214 w 218"/>
                <a:gd name="T15" fmla="*/ 215 h 226"/>
                <a:gd name="T16" fmla="*/ 214 w 218"/>
                <a:gd name="T17" fmla="*/ 215 h 226"/>
                <a:gd name="T18" fmla="*/ 214 w 218"/>
                <a:gd name="T19" fmla="*/ 226 h 226"/>
                <a:gd name="T20" fmla="*/ 218 w 218"/>
                <a:gd name="T21" fmla="*/ 220 h 226"/>
                <a:gd name="T22" fmla="*/ 218 w 218"/>
                <a:gd name="T23" fmla="*/ 121 h 226"/>
                <a:gd name="T24" fmla="*/ 218 w 218"/>
                <a:gd name="T25" fmla="*/ 12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8" h="226">
                  <a:moveTo>
                    <a:pt x="218" y="121"/>
                  </a:moveTo>
                  <a:cubicBezTo>
                    <a:pt x="218" y="121"/>
                    <a:pt x="218" y="121"/>
                    <a:pt x="218" y="121"/>
                  </a:cubicBezTo>
                  <a:cubicBezTo>
                    <a:pt x="218" y="119"/>
                    <a:pt x="217" y="117"/>
                    <a:pt x="214" y="115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4" y="0"/>
                    <a:pt x="5" y="0"/>
                    <a:pt x="0" y="3"/>
                  </a:cubicBezTo>
                  <a:cubicBezTo>
                    <a:pt x="0" y="36"/>
                    <a:pt x="0" y="69"/>
                    <a:pt x="0" y="102"/>
                  </a:cubicBezTo>
                  <a:cubicBezTo>
                    <a:pt x="5" y="99"/>
                    <a:pt x="14" y="99"/>
                    <a:pt x="19" y="102"/>
                  </a:cubicBezTo>
                  <a:cubicBezTo>
                    <a:pt x="214" y="215"/>
                    <a:pt x="214" y="215"/>
                    <a:pt x="214" y="215"/>
                  </a:cubicBezTo>
                  <a:cubicBezTo>
                    <a:pt x="214" y="215"/>
                    <a:pt x="214" y="215"/>
                    <a:pt x="214" y="215"/>
                  </a:cubicBezTo>
                  <a:cubicBezTo>
                    <a:pt x="214" y="226"/>
                    <a:pt x="214" y="226"/>
                    <a:pt x="214" y="226"/>
                  </a:cubicBezTo>
                  <a:cubicBezTo>
                    <a:pt x="217" y="224"/>
                    <a:pt x="218" y="222"/>
                    <a:pt x="218" y="220"/>
                  </a:cubicBezTo>
                  <a:cubicBezTo>
                    <a:pt x="218" y="121"/>
                    <a:pt x="218" y="121"/>
                    <a:pt x="218" y="121"/>
                  </a:cubicBezTo>
                  <a:cubicBezTo>
                    <a:pt x="218" y="121"/>
                    <a:pt x="218" y="121"/>
                    <a:pt x="218" y="121"/>
                  </a:cubicBezTo>
                  <a:close/>
                </a:path>
              </a:pathLst>
            </a:custGeom>
            <a:solidFill>
              <a:srgbClr val="7B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59" name="Freeform 9">
              <a:extLst>
                <a:ext uri="{FF2B5EF4-FFF2-40B4-BE49-F238E27FC236}">
                  <a16:creationId xmlns:a16="http://schemas.microsoft.com/office/drawing/2014/main" id="{AAF6CE6B-D4DD-4DE1-8626-D3BFEE17E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0236" y="3486151"/>
              <a:ext cx="1169987" cy="873125"/>
            </a:xfrm>
            <a:custGeom>
              <a:avLst/>
              <a:gdLst>
                <a:gd name="T0" fmla="*/ 6 w 311"/>
                <a:gd name="T1" fmla="*/ 188 h 232"/>
                <a:gd name="T2" fmla="*/ 82 w 311"/>
                <a:gd name="T3" fmla="*/ 232 h 232"/>
                <a:gd name="T4" fmla="*/ 311 w 311"/>
                <a:gd name="T5" fmla="*/ 99 h 232"/>
                <a:gd name="T6" fmla="*/ 311 w 311"/>
                <a:gd name="T7" fmla="*/ 0 h 232"/>
                <a:gd name="T8" fmla="*/ 6 w 311"/>
                <a:gd name="T9" fmla="*/ 177 h 232"/>
                <a:gd name="T10" fmla="*/ 6 w 311"/>
                <a:gd name="T11" fmla="*/ 18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1" h="232">
                  <a:moveTo>
                    <a:pt x="6" y="188"/>
                  </a:moveTo>
                  <a:cubicBezTo>
                    <a:pt x="82" y="232"/>
                    <a:pt x="82" y="232"/>
                    <a:pt x="82" y="232"/>
                  </a:cubicBezTo>
                  <a:cubicBezTo>
                    <a:pt x="311" y="99"/>
                    <a:pt x="311" y="99"/>
                    <a:pt x="311" y="99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6" y="177"/>
                    <a:pt x="6" y="177"/>
                    <a:pt x="6" y="177"/>
                  </a:cubicBezTo>
                  <a:cubicBezTo>
                    <a:pt x="0" y="180"/>
                    <a:pt x="0" y="185"/>
                    <a:pt x="6" y="188"/>
                  </a:cubicBezTo>
                  <a:close/>
                </a:path>
              </a:pathLst>
            </a:custGeom>
            <a:solidFill>
              <a:srgbClr val="B1B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60" name="Freeform 10">
              <a:extLst>
                <a:ext uri="{FF2B5EF4-FFF2-40B4-BE49-F238E27FC236}">
                  <a16:creationId xmlns:a16="http://schemas.microsoft.com/office/drawing/2014/main" id="{CC794CCB-9084-4E1A-8AEE-1B0F952EA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4761" y="3914776"/>
              <a:ext cx="452437" cy="647700"/>
            </a:xfrm>
            <a:custGeom>
              <a:avLst/>
              <a:gdLst>
                <a:gd name="T0" fmla="*/ 116 w 120"/>
                <a:gd name="T1" fmla="*/ 6 h 172"/>
                <a:gd name="T2" fmla="*/ 0 w 120"/>
                <a:gd name="T3" fmla="*/ 73 h 172"/>
                <a:gd name="T4" fmla="*/ 0 w 120"/>
                <a:gd name="T5" fmla="*/ 172 h 172"/>
                <a:gd name="T6" fmla="*/ 116 w 120"/>
                <a:gd name="T7" fmla="*/ 105 h 172"/>
                <a:gd name="T8" fmla="*/ 120 w 120"/>
                <a:gd name="T9" fmla="*/ 100 h 172"/>
                <a:gd name="T10" fmla="*/ 120 w 120"/>
                <a:gd name="T11" fmla="*/ 0 h 172"/>
                <a:gd name="T12" fmla="*/ 116 w 120"/>
                <a:gd name="T13" fmla="*/ 6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72">
                  <a:moveTo>
                    <a:pt x="116" y="6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8" y="104"/>
                    <a:pt x="120" y="102"/>
                    <a:pt x="120" y="10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0" y="2"/>
                    <a:pt x="118" y="4"/>
                    <a:pt x="116" y="6"/>
                  </a:cubicBezTo>
                  <a:close/>
                </a:path>
              </a:pathLst>
            </a:custGeom>
            <a:solidFill>
              <a:srgbClr val="B1B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61" name="Freeform 11">
              <a:extLst>
                <a:ext uri="{FF2B5EF4-FFF2-40B4-BE49-F238E27FC236}">
                  <a16:creationId xmlns:a16="http://schemas.microsoft.com/office/drawing/2014/main" id="{F0EAE499-D858-45A2-9549-AE7BCBCA1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8324" y="4170363"/>
              <a:ext cx="706437" cy="730250"/>
            </a:xfrm>
            <a:custGeom>
              <a:avLst/>
              <a:gdLst>
                <a:gd name="T0" fmla="*/ 184 w 188"/>
                <a:gd name="T1" fmla="*/ 4 h 194"/>
                <a:gd name="T2" fmla="*/ 165 w 188"/>
                <a:gd name="T3" fmla="*/ 1 h 194"/>
                <a:gd name="T4" fmla="*/ 157 w 188"/>
                <a:gd name="T5" fmla="*/ 2 h 194"/>
                <a:gd name="T6" fmla="*/ 151 w 188"/>
                <a:gd name="T7" fmla="*/ 5 h 194"/>
                <a:gd name="T8" fmla="*/ 3 w 188"/>
                <a:gd name="T9" fmla="*/ 91 h 194"/>
                <a:gd name="T10" fmla="*/ 1 w 188"/>
                <a:gd name="T11" fmla="*/ 95 h 194"/>
                <a:gd name="T12" fmla="*/ 0 w 188"/>
                <a:gd name="T13" fmla="*/ 194 h 194"/>
                <a:gd name="T14" fmla="*/ 3 w 188"/>
                <a:gd name="T15" fmla="*/ 191 h 194"/>
                <a:gd name="T16" fmla="*/ 9 w 188"/>
                <a:gd name="T17" fmla="*/ 187 h 194"/>
                <a:gd name="T18" fmla="*/ 151 w 188"/>
                <a:gd name="T19" fmla="*/ 105 h 194"/>
                <a:gd name="T20" fmla="*/ 157 w 188"/>
                <a:gd name="T21" fmla="*/ 101 h 194"/>
                <a:gd name="T22" fmla="*/ 165 w 188"/>
                <a:gd name="T23" fmla="*/ 100 h 194"/>
                <a:gd name="T24" fmla="*/ 183 w 188"/>
                <a:gd name="T25" fmla="*/ 104 h 194"/>
                <a:gd name="T26" fmla="*/ 188 w 188"/>
                <a:gd name="T27" fmla="*/ 104 h 194"/>
                <a:gd name="T28" fmla="*/ 188 w 188"/>
                <a:gd name="T29" fmla="*/ 5 h 194"/>
                <a:gd name="T30" fmla="*/ 184 w 188"/>
                <a:gd name="T31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8" h="194">
                  <a:moveTo>
                    <a:pt x="184" y="4"/>
                  </a:moveTo>
                  <a:cubicBezTo>
                    <a:pt x="165" y="1"/>
                    <a:pt x="165" y="1"/>
                    <a:pt x="165" y="1"/>
                  </a:cubicBezTo>
                  <a:cubicBezTo>
                    <a:pt x="163" y="0"/>
                    <a:pt x="159" y="1"/>
                    <a:pt x="157" y="2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3" y="91"/>
                    <a:pt x="3" y="91"/>
                    <a:pt x="3" y="91"/>
                  </a:cubicBezTo>
                  <a:cubicBezTo>
                    <a:pt x="1" y="92"/>
                    <a:pt x="1" y="94"/>
                    <a:pt x="1" y="95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3"/>
                    <a:pt x="1" y="192"/>
                    <a:pt x="3" y="191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151" y="105"/>
                    <a:pt x="151" y="105"/>
                    <a:pt x="151" y="105"/>
                  </a:cubicBezTo>
                  <a:cubicBezTo>
                    <a:pt x="157" y="101"/>
                    <a:pt x="157" y="101"/>
                    <a:pt x="157" y="101"/>
                  </a:cubicBezTo>
                  <a:cubicBezTo>
                    <a:pt x="159" y="100"/>
                    <a:pt x="163" y="100"/>
                    <a:pt x="165" y="100"/>
                  </a:cubicBezTo>
                  <a:cubicBezTo>
                    <a:pt x="183" y="104"/>
                    <a:pt x="183" y="104"/>
                    <a:pt x="183" y="104"/>
                  </a:cubicBezTo>
                  <a:cubicBezTo>
                    <a:pt x="185" y="104"/>
                    <a:pt x="186" y="104"/>
                    <a:pt x="188" y="104"/>
                  </a:cubicBezTo>
                  <a:cubicBezTo>
                    <a:pt x="188" y="5"/>
                    <a:pt x="188" y="5"/>
                    <a:pt x="188" y="5"/>
                  </a:cubicBezTo>
                  <a:cubicBezTo>
                    <a:pt x="186" y="5"/>
                    <a:pt x="185" y="4"/>
                    <a:pt x="184" y="4"/>
                  </a:cubicBezTo>
                  <a:close/>
                </a:path>
              </a:pathLst>
            </a:custGeom>
            <a:solidFill>
              <a:srgbClr val="7B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62" name="Freeform 12">
              <a:extLst>
                <a:ext uri="{FF2B5EF4-FFF2-40B4-BE49-F238E27FC236}">
                  <a16:creationId xmlns:a16="http://schemas.microsoft.com/office/drawing/2014/main" id="{6C9DDFCB-ACE7-46D6-92EE-DFAB68ECB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0661" y="4164013"/>
              <a:ext cx="876300" cy="804863"/>
            </a:xfrm>
            <a:custGeom>
              <a:avLst/>
              <a:gdLst>
                <a:gd name="T0" fmla="*/ 233 w 233"/>
                <a:gd name="T1" fmla="*/ 115 h 214"/>
                <a:gd name="T2" fmla="*/ 232 w 233"/>
                <a:gd name="T3" fmla="*/ 214 h 214"/>
                <a:gd name="T4" fmla="*/ 226 w 233"/>
                <a:gd name="T5" fmla="*/ 204 h 214"/>
                <a:gd name="T6" fmla="*/ 132 w 233"/>
                <a:gd name="T7" fmla="*/ 150 h 214"/>
                <a:gd name="T8" fmla="*/ 109 w 233"/>
                <a:gd name="T9" fmla="*/ 147 h 214"/>
                <a:gd name="T10" fmla="*/ 98 w 233"/>
                <a:gd name="T11" fmla="*/ 149 h 214"/>
                <a:gd name="T12" fmla="*/ 75 w 233"/>
                <a:gd name="T13" fmla="*/ 146 h 214"/>
                <a:gd name="T14" fmla="*/ 4 w 233"/>
                <a:gd name="T15" fmla="*/ 105 h 214"/>
                <a:gd name="T16" fmla="*/ 0 w 233"/>
                <a:gd name="T17" fmla="*/ 100 h 214"/>
                <a:gd name="T18" fmla="*/ 1 w 233"/>
                <a:gd name="T19" fmla="*/ 0 h 214"/>
                <a:gd name="T20" fmla="*/ 5 w 233"/>
                <a:gd name="T21" fmla="*/ 6 h 214"/>
                <a:gd name="T22" fmla="*/ 75 w 233"/>
                <a:gd name="T23" fmla="*/ 46 h 214"/>
                <a:gd name="T24" fmla="*/ 98 w 233"/>
                <a:gd name="T25" fmla="*/ 50 h 214"/>
                <a:gd name="T26" fmla="*/ 109 w 233"/>
                <a:gd name="T27" fmla="*/ 47 h 214"/>
                <a:gd name="T28" fmla="*/ 132 w 233"/>
                <a:gd name="T29" fmla="*/ 50 h 214"/>
                <a:gd name="T30" fmla="*/ 226 w 233"/>
                <a:gd name="T31" fmla="*/ 105 h 214"/>
                <a:gd name="T32" fmla="*/ 233 w 233"/>
                <a:gd name="T33" fmla="*/ 115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3" h="214">
                  <a:moveTo>
                    <a:pt x="233" y="115"/>
                  </a:moveTo>
                  <a:cubicBezTo>
                    <a:pt x="232" y="214"/>
                    <a:pt x="232" y="214"/>
                    <a:pt x="232" y="214"/>
                  </a:cubicBezTo>
                  <a:cubicBezTo>
                    <a:pt x="232" y="210"/>
                    <a:pt x="230" y="207"/>
                    <a:pt x="226" y="204"/>
                  </a:cubicBezTo>
                  <a:cubicBezTo>
                    <a:pt x="132" y="150"/>
                    <a:pt x="132" y="150"/>
                    <a:pt x="132" y="150"/>
                  </a:cubicBezTo>
                  <a:cubicBezTo>
                    <a:pt x="126" y="147"/>
                    <a:pt x="116" y="145"/>
                    <a:pt x="109" y="147"/>
                  </a:cubicBezTo>
                  <a:cubicBezTo>
                    <a:pt x="98" y="149"/>
                    <a:pt x="98" y="149"/>
                    <a:pt x="98" y="149"/>
                  </a:cubicBezTo>
                  <a:cubicBezTo>
                    <a:pt x="90" y="150"/>
                    <a:pt x="80" y="149"/>
                    <a:pt x="75" y="146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2" y="104"/>
                    <a:pt x="0" y="102"/>
                    <a:pt x="0" y="10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"/>
                    <a:pt x="2" y="4"/>
                    <a:pt x="5" y="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80" y="50"/>
                    <a:pt x="91" y="51"/>
                    <a:pt x="98" y="50"/>
                  </a:cubicBezTo>
                  <a:cubicBezTo>
                    <a:pt x="109" y="47"/>
                    <a:pt x="109" y="47"/>
                    <a:pt x="109" y="47"/>
                  </a:cubicBezTo>
                  <a:cubicBezTo>
                    <a:pt x="116" y="46"/>
                    <a:pt x="127" y="47"/>
                    <a:pt x="132" y="50"/>
                  </a:cubicBezTo>
                  <a:cubicBezTo>
                    <a:pt x="226" y="105"/>
                    <a:pt x="226" y="105"/>
                    <a:pt x="226" y="105"/>
                  </a:cubicBezTo>
                  <a:cubicBezTo>
                    <a:pt x="230" y="107"/>
                    <a:pt x="233" y="111"/>
                    <a:pt x="233" y="115"/>
                  </a:cubicBez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63" name="Freeform 13">
              <a:extLst>
                <a:ext uri="{FF2B5EF4-FFF2-40B4-BE49-F238E27FC236}">
                  <a16:creationId xmlns:a16="http://schemas.microsoft.com/office/drawing/2014/main" id="{190AB711-FD01-4B78-A379-D554B196C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5899" y="3233738"/>
              <a:ext cx="2784474" cy="1614488"/>
            </a:xfrm>
            <a:custGeom>
              <a:avLst/>
              <a:gdLst>
                <a:gd name="T0" fmla="*/ 582 w 740"/>
                <a:gd name="T1" fmla="*/ 254 h 429"/>
                <a:gd name="T2" fmla="*/ 440 w 740"/>
                <a:gd name="T3" fmla="*/ 337 h 429"/>
                <a:gd name="T4" fmla="*/ 434 w 740"/>
                <a:gd name="T5" fmla="*/ 340 h 429"/>
                <a:gd name="T6" fmla="*/ 432 w 740"/>
                <a:gd name="T7" fmla="*/ 345 h 429"/>
                <a:gd name="T8" fmla="*/ 435 w 740"/>
                <a:gd name="T9" fmla="*/ 351 h 429"/>
                <a:gd name="T10" fmla="*/ 438 w 740"/>
                <a:gd name="T11" fmla="*/ 356 h 429"/>
                <a:gd name="T12" fmla="*/ 430 w 740"/>
                <a:gd name="T13" fmla="*/ 364 h 429"/>
                <a:gd name="T14" fmla="*/ 324 w 740"/>
                <a:gd name="T15" fmla="*/ 425 h 429"/>
                <a:gd name="T16" fmla="*/ 305 w 740"/>
                <a:gd name="T17" fmla="*/ 425 h 429"/>
                <a:gd name="T18" fmla="*/ 234 w 740"/>
                <a:gd name="T19" fmla="*/ 385 h 429"/>
                <a:gd name="T20" fmla="*/ 229 w 740"/>
                <a:gd name="T21" fmla="*/ 372 h 429"/>
                <a:gd name="T22" fmla="*/ 233 w 740"/>
                <a:gd name="T23" fmla="*/ 365 h 429"/>
                <a:gd name="T24" fmla="*/ 227 w 740"/>
                <a:gd name="T25" fmla="*/ 352 h 429"/>
                <a:gd name="T26" fmla="*/ 133 w 740"/>
                <a:gd name="T27" fmla="*/ 297 h 429"/>
                <a:gd name="T28" fmla="*/ 110 w 740"/>
                <a:gd name="T29" fmla="*/ 294 h 429"/>
                <a:gd name="T30" fmla="*/ 99 w 740"/>
                <a:gd name="T31" fmla="*/ 297 h 429"/>
                <a:gd name="T32" fmla="*/ 76 w 740"/>
                <a:gd name="T33" fmla="*/ 293 h 429"/>
                <a:gd name="T34" fmla="*/ 6 w 740"/>
                <a:gd name="T35" fmla="*/ 253 h 429"/>
                <a:gd name="T36" fmla="*/ 6 w 740"/>
                <a:gd name="T37" fmla="*/ 241 h 429"/>
                <a:gd name="T38" fmla="*/ 131 w 740"/>
                <a:gd name="T39" fmla="*/ 169 h 429"/>
                <a:gd name="T40" fmla="*/ 154 w 740"/>
                <a:gd name="T41" fmla="*/ 165 h 429"/>
                <a:gd name="T42" fmla="*/ 169 w 740"/>
                <a:gd name="T43" fmla="*/ 168 h 429"/>
                <a:gd name="T44" fmla="*/ 192 w 740"/>
                <a:gd name="T45" fmla="*/ 165 h 429"/>
                <a:gd name="T46" fmla="*/ 285 w 740"/>
                <a:gd name="T47" fmla="*/ 111 h 429"/>
                <a:gd name="T48" fmla="*/ 290 w 740"/>
                <a:gd name="T49" fmla="*/ 98 h 429"/>
                <a:gd name="T50" fmla="*/ 285 w 740"/>
                <a:gd name="T51" fmla="*/ 89 h 429"/>
                <a:gd name="T52" fmla="*/ 291 w 740"/>
                <a:gd name="T53" fmla="*/ 76 h 429"/>
                <a:gd name="T54" fmla="*/ 416 w 740"/>
                <a:gd name="T55" fmla="*/ 3 h 429"/>
                <a:gd name="T56" fmla="*/ 436 w 740"/>
                <a:gd name="T57" fmla="*/ 3 h 429"/>
                <a:gd name="T58" fmla="*/ 506 w 740"/>
                <a:gd name="T59" fmla="*/ 44 h 429"/>
                <a:gd name="T60" fmla="*/ 512 w 740"/>
                <a:gd name="T61" fmla="*/ 57 h 429"/>
                <a:gd name="T62" fmla="*/ 508 w 740"/>
                <a:gd name="T63" fmla="*/ 63 h 429"/>
                <a:gd name="T64" fmla="*/ 513 w 740"/>
                <a:gd name="T65" fmla="*/ 77 h 429"/>
                <a:gd name="T66" fmla="*/ 607 w 740"/>
                <a:gd name="T67" fmla="*/ 131 h 429"/>
                <a:gd name="T68" fmla="*/ 630 w 740"/>
                <a:gd name="T69" fmla="*/ 134 h 429"/>
                <a:gd name="T70" fmla="*/ 641 w 740"/>
                <a:gd name="T71" fmla="*/ 132 h 429"/>
                <a:gd name="T72" fmla="*/ 664 w 740"/>
                <a:gd name="T73" fmla="*/ 135 h 429"/>
                <a:gd name="T74" fmla="*/ 735 w 740"/>
                <a:gd name="T75" fmla="*/ 176 h 429"/>
                <a:gd name="T76" fmla="*/ 735 w 740"/>
                <a:gd name="T77" fmla="*/ 187 h 429"/>
                <a:gd name="T78" fmla="*/ 619 w 740"/>
                <a:gd name="T79" fmla="*/ 254 h 429"/>
                <a:gd name="T80" fmla="*/ 615 w 740"/>
                <a:gd name="T81" fmla="*/ 253 h 429"/>
                <a:gd name="T82" fmla="*/ 596 w 740"/>
                <a:gd name="T83" fmla="*/ 250 h 429"/>
                <a:gd name="T84" fmla="*/ 588 w 740"/>
                <a:gd name="T85" fmla="*/ 251 h 429"/>
                <a:gd name="T86" fmla="*/ 582 w 740"/>
                <a:gd name="T87" fmla="*/ 254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40" h="429">
                  <a:moveTo>
                    <a:pt x="582" y="254"/>
                  </a:moveTo>
                  <a:cubicBezTo>
                    <a:pt x="440" y="337"/>
                    <a:pt x="440" y="337"/>
                    <a:pt x="440" y="337"/>
                  </a:cubicBezTo>
                  <a:cubicBezTo>
                    <a:pt x="434" y="340"/>
                    <a:pt x="434" y="340"/>
                    <a:pt x="434" y="340"/>
                  </a:cubicBezTo>
                  <a:cubicBezTo>
                    <a:pt x="432" y="342"/>
                    <a:pt x="431" y="344"/>
                    <a:pt x="432" y="345"/>
                  </a:cubicBezTo>
                  <a:cubicBezTo>
                    <a:pt x="435" y="351"/>
                    <a:pt x="435" y="351"/>
                    <a:pt x="435" y="351"/>
                  </a:cubicBezTo>
                  <a:cubicBezTo>
                    <a:pt x="438" y="356"/>
                    <a:pt x="438" y="356"/>
                    <a:pt x="438" y="356"/>
                  </a:cubicBezTo>
                  <a:cubicBezTo>
                    <a:pt x="439" y="356"/>
                    <a:pt x="438" y="359"/>
                    <a:pt x="430" y="364"/>
                  </a:cubicBezTo>
                  <a:cubicBezTo>
                    <a:pt x="324" y="425"/>
                    <a:pt x="324" y="425"/>
                    <a:pt x="324" y="425"/>
                  </a:cubicBezTo>
                  <a:cubicBezTo>
                    <a:pt x="319" y="429"/>
                    <a:pt x="310" y="429"/>
                    <a:pt x="305" y="425"/>
                  </a:cubicBezTo>
                  <a:cubicBezTo>
                    <a:pt x="234" y="385"/>
                    <a:pt x="234" y="385"/>
                    <a:pt x="234" y="385"/>
                  </a:cubicBezTo>
                  <a:cubicBezTo>
                    <a:pt x="229" y="382"/>
                    <a:pt x="226" y="376"/>
                    <a:pt x="229" y="372"/>
                  </a:cubicBezTo>
                  <a:cubicBezTo>
                    <a:pt x="233" y="365"/>
                    <a:pt x="233" y="365"/>
                    <a:pt x="233" y="365"/>
                  </a:cubicBezTo>
                  <a:cubicBezTo>
                    <a:pt x="235" y="361"/>
                    <a:pt x="233" y="355"/>
                    <a:pt x="227" y="352"/>
                  </a:cubicBezTo>
                  <a:cubicBezTo>
                    <a:pt x="133" y="297"/>
                    <a:pt x="133" y="297"/>
                    <a:pt x="133" y="297"/>
                  </a:cubicBezTo>
                  <a:cubicBezTo>
                    <a:pt x="128" y="294"/>
                    <a:pt x="117" y="293"/>
                    <a:pt x="110" y="294"/>
                  </a:cubicBezTo>
                  <a:cubicBezTo>
                    <a:pt x="99" y="297"/>
                    <a:pt x="99" y="297"/>
                    <a:pt x="99" y="297"/>
                  </a:cubicBezTo>
                  <a:cubicBezTo>
                    <a:pt x="92" y="298"/>
                    <a:pt x="81" y="297"/>
                    <a:pt x="76" y="293"/>
                  </a:cubicBezTo>
                  <a:cubicBezTo>
                    <a:pt x="6" y="253"/>
                    <a:pt x="6" y="253"/>
                    <a:pt x="6" y="253"/>
                  </a:cubicBezTo>
                  <a:cubicBezTo>
                    <a:pt x="0" y="250"/>
                    <a:pt x="0" y="245"/>
                    <a:pt x="6" y="241"/>
                  </a:cubicBezTo>
                  <a:cubicBezTo>
                    <a:pt x="131" y="169"/>
                    <a:pt x="131" y="169"/>
                    <a:pt x="131" y="169"/>
                  </a:cubicBezTo>
                  <a:cubicBezTo>
                    <a:pt x="136" y="165"/>
                    <a:pt x="147" y="164"/>
                    <a:pt x="154" y="165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76" y="170"/>
                    <a:pt x="186" y="168"/>
                    <a:pt x="192" y="165"/>
                  </a:cubicBezTo>
                  <a:cubicBezTo>
                    <a:pt x="285" y="111"/>
                    <a:pt x="285" y="111"/>
                    <a:pt x="285" y="111"/>
                  </a:cubicBezTo>
                  <a:cubicBezTo>
                    <a:pt x="290" y="108"/>
                    <a:pt x="293" y="102"/>
                    <a:pt x="290" y="98"/>
                  </a:cubicBezTo>
                  <a:cubicBezTo>
                    <a:pt x="285" y="89"/>
                    <a:pt x="285" y="89"/>
                    <a:pt x="285" y="89"/>
                  </a:cubicBezTo>
                  <a:cubicBezTo>
                    <a:pt x="283" y="85"/>
                    <a:pt x="285" y="79"/>
                    <a:pt x="291" y="76"/>
                  </a:cubicBezTo>
                  <a:cubicBezTo>
                    <a:pt x="416" y="3"/>
                    <a:pt x="416" y="3"/>
                    <a:pt x="416" y="3"/>
                  </a:cubicBezTo>
                  <a:cubicBezTo>
                    <a:pt x="421" y="0"/>
                    <a:pt x="430" y="0"/>
                    <a:pt x="436" y="3"/>
                  </a:cubicBezTo>
                  <a:cubicBezTo>
                    <a:pt x="506" y="44"/>
                    <a:pt x="506" y="44"/>
                    <a:pt x="506" y="44"/>
                  </a:cubicBezTo>
                  <a:cubicBezTo>
                    <a:pt x="512" y="47"/>
                    <a:pt x="514" y="53"/>
                    <a:pt x="512" y="57"/>
                  </a:cubicBezTo>
                  <a:cubicBezTo>
                    <a:pt x="508" y="63"/>
                    <a:pt x="508" y="63"/>
                    <a:pt x="508" y="63"/>
                  </a:cubicBezTo>
                  <a:cubicBezTo>
                    <a:pt x="505" y="67"/>
                    <a:pt x="508" y="73"/>
                    <a:pt x="513" y="77"/>
                  </a:cubicBezTo>
                  <a:cubicBezTo>
                    <a:pt x="607" y="131"/>
                    <a:pt x="607" y="131"/>
                    <a:pt x="607" y="131"/>
                  </a:cubicBezTo>
                  <a:cubicBezTo>
                    <a:pt x="613" y="134"/>
                    <a:pt x="623" y="135"/>
                    <a:pt x="630" y="134"/>
                  </a:cubicBezTo>
                  <a:cubicBezTo>
                    <a:pt x="641" y="132"/>
                    <a:pt x="641" y="132"/>
                    <a:pt x="641" y="132"/>
                  </a:cubicBezTo>
                  <a:cubicBezTo>
                    <a:pt x="649" y="130"/>
                    <a:pt x="659" y="132"/>
                    <a:pt x="664" y="135"/>
                  </a:cubicBezTo>
                  <a:cubicBezTo>
                    <a:pt x="735" y="176"/>
                    <a:pt x="735" y="176"/>
                    <a:pt x="735" y="176"/>
                  </a:cubicBezTo>
                  <a:cubicBezTo>
                    <a:pt x="740" y="179"/>
                    <a:pt x="740" y="184"/>
                    <a:pt x="735" y="187"/>
                  </a:cubicBezTo>
                  <a:cubicBezTo>
                    <a:pt x="619" y="254"/>
                    <a:pt x="619" y="254"/>
                    <a:pt x="619" y="254"/>
                  </a:cubicBezTo>
                  <a:cubicBezTo>
                    <a:pt x="617" y="254"/>
                    <a:pt x="616" y="253"/>
                    <a:pt x="615" y="253"/>
                  </a:cubicBezTo>
                  <a:cubicBezTo>
                    <a:pt x="596" y="250"/>
                    <a:pt x="596" y="250"/>
                    <a:pt x="596" y="250"/>
                  </a:cubicBezTo>
                  <a:cubicBezTo>
                    <a:pt x="594" y="249"/>
                    <a:pt x="590" y="250"/>
                    <a:pt x="588" y="251"/>
                  </a:cubicBezTo>
                  <a:lnTo>
                    <a:pt x="582" y="254"/>
                  </a:ln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64" name="Freeform 14">
              <a:extLst>
                <a:ext uri="{FF2B5EF4-FFF2-40B4-BE49-F238E27FC236}">
                  <a16:creationId xmlns:a16="http://schemas.microsoft.com/office/drawing/2014/main" id="{F2996329-A647-4598-A54F-50E7BBF34E3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4736" y="4645026"/>
              <a:ext cx="288925" cy="565150"/>
            </a:xfrm>
            <a:custGeom>
              <a:avLst/>
              <a:gdLst>
                <a:gd name="T0" fmla="*/ 6 w 77"/>
                <a:gd name="T1" fmla="*/ 10 h 150"/>
                <a:gd name="T2" fmla="*/ 0 w 77"/>
                <a:gd name="T3" fmla="*/ 0 h 150"/>
                <a:gd name="T4" fmla="*/ 0 w 77"/>
                <a:gd name="T5" fmla="*/ 100 h 150"/>
                <a:gd name="T6" fmla="*/ 6 w 77"/>
                <a:gd name="T7" fmla="*/ 109 h 150"/>
                <a:gd name="T8" fmla="*/ 76 w 77"/>
                <a:gd name="T9" fmla="*/ 150 h 150"/>
                <a:gd name="T10" fmla="*/ 77 w 77"/>
                <a:gd name="T11" fmla="*/ 50 h 150"/>
                <a:gd name="T12" fmla="*/ 6 w 77"/>
                <a:gd name="T13" fmla="*/ 1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150">
                  <a:moveTo>
                    <a:pt x="6" y="10"/>
                  </a:moveTo>
                  <a:cubicBezTo>
                    <a:pt x="2" y="8"/>
                    <a:pt x="0" y="4"/>
                    <a:pt x="0" y="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3"/>
                    <a:pt x="2" y="107"/>
                    <a:pt x="6" y="109"/>
                  </a:cubicBezTo>
                  <a:cubicBezTo>
                    <a:pt x="76" y="150"/>
                    <a:pt x="76" y="150"/>
                    <a:pt x="76" y="150"/>
                  </a:cubicBezTo>
                  <a:cubicBezTo>
                    <a:pt x="77" y="50"/>
                    <a:pt x="77" y="50"/>
                    <a:pt x="77" y="50"/>
                  </a:cubicBezTo>
                  <a:lnTo>
                    <a:pt x="6" y="10"/>
                  </a:lnTo>
                  <a:close/>
                </a:path>
              </a:pathLst>
            </a:custGeom>
            <a:solidFill>
              <a:srgbClr val="7B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65" name="Freeform 15">
              <a:extLst>
                <a:ext uri="{FF2B5EF4-FFF2-40B4-BE49-F238E27FC236}">
                  <a16:creationId xmlns:a16="http://schemas.microsoft.com/office/drawing/2014/main" id="{A4C98056-0448-4417-91A8-9BF4FF22C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0486" y="4576763"/>
              <a:ext cx="503237" cy="644525"/>
            </a:xfrm>
            <a:custGeom>
              <a:avLst/>
              <a:gdLst>
                <a:gd name="T0" fmla="*/ 126 w 134"/>
                <a:gd name="T1" fmla="*/ 7 h 171"/>
                <a:gd name="T2" fmla="*/ 20 w 134"/>
                <a:gd name="T3" fmla="*/ 68 h 171"/>
                <a:gd name="T4" fmla="*/ 1 w 134"/>
                <a:gd name="T5" fmla="*/ 68 h 171"/>
                <a:gd name="T6" fmla="*/ 0 w 134"/>
                <a:gd name="T7" fmla="*/ 168 h 171"/>
                <a:gd name="T8" fmla="*/ 20 w 134"/>
                <a:gd name="T9" fmla="*/ 168 h 171"/>
                <a:gd name="T10" fmla="*/ 126 w 134"/>
                <a:gd name="T11" fmla="*/ 107 h 171"/>
                <a:gd name="T12" fmla="*/ 134 w 134"/>
                <a:gd name="T13" fmla="*/ 102 h 171"/>
                <a:gd name="T14" fmla="*/ 134 w 134"/>
                <a:gd name="T15" fmla="*/ 0 h 171"/>
                <a:gd name="T16" fmla="*/ 126 w 134"/>
                <a:gd name="T17" fmla="*/ 7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" h="171">
                  <a:moveTo>
                    <a:pt x="126" y="7"/>
                  </a:moveTo>
                  <a:cubicBezTo>
                    <a:pt x="20" y="68"/>
                    <a:pt x="20" y="68"/>
                    <a:pt x="20" y="68"/>
                  </a:cubicBezTo>
                  <a:cubicBezTo>
                    <a:pt x="15" y="72"/>
                    <a:pt x="6" y="72"/>
                    <a:pt x="1" y="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6" y="171"/>
                    <a:pt x="15" y="171"/>
                    <a:pt x="20" y="168"/>
                  </a:cubicBezTo>
                  <a:cubicBezTo>
                    <a:pt x="126" y="107"/>
                    <a:pt x="126" y="107"/>
                    <a:pt x="126" y="107"/>
                  </a:cubicBezTo>
                  <a:cubicBezTo>
                    <a:pt x="128" y="105"/>
                    <a:pt x="131" y="103"/>
                    <a:pt x="134" y="102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4" y="1"/>
                    <a:pt x="132" y="4"/>
                    <a:pt x="126" y="7"/>
                  </a:cubicBezTo>
                  <a:close/>
                </a:path>
              </a:pathLst>
            </a:custGeom>
            <a:solidFill>
              <a:srgbClr val="B1B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66" name="Freeform 16">
              <a:extLst>
                <a:ext uri="{FF2B5EF4-FFF2-40B4-BE49-F238E27FC236}">
                  <a16:creationId xmlns:a16="http://schemas.microsoft.com/office/drawing/2014/main" id="{9C511987-D73F-4C96-89EF-00E29700C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4073" y="3016251"/>
              <a:ext cx="19050" cy="423863"/>
            </a:xfrm>
            <a:custGeom>
              <a:avLst/>
              <a:gdLst>
                <a:gd name="T0" fmla="*/ 5 w 5"/>
                <a:gd name="T1" fmla="*/ 4 h 113"/>
                <a:gd name="T2" fmla="*/ 1 w 5"/>
                <a:gd name="T3" fmla="*/ 10 h 113"/>
                <a:gd name="T4" fmla="*/ 0 w 5"/>
                <a:gd name="T5" fmla="*/ 14 h 113"/>
                <a:gd name="T6" fmla="*/ 0 w 5"/>
                <a:gd name="T7" fmla="*/ 113 h 113"/>
                <a:gd name="T8" fmla="*/ 0 w 5"/>
                <a:gd name="T9" fmla="*/ 110 h 113"/>
                <a:gd name="T10" fmla="*/ 4 w 5"/>
                <a:gd name="T11" fmla="*/ 103 h 113"/>
                <a:gd name="T12" fmla="*/ 5 w 5"/>
                <a:gd name="T13" fmla="*/ 100 h 113"/>
                <a:gd name="T14" fmla="*/ 5 w 5"/>
                <a:gd name="T15" fmla="*/ 0 h 113"/>
                <a:gd name="T16" fmla="*/ 5 w 5"/>
                <a:gd name="T17" fmla="*/ 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113">
                  <a:moveTo>
                    <a:pt x="5" y="4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2"/>
                    <a:pt x="0" y="111"/>
                    <a:pt x="0" y="110"/>
                  </a:cubicBezTo>
                  <a:cubicBezTo>
                    <a:pt x="4" y="103"/>
                    <a:pt x="4" y="103"/>
                    <a:pt x="4" y="103"/>
                  </a:cubicBezTo>
                  <a:cubicBezTo>
                    <a:pt x="5" y="102"/>
                    <a:pt x="5" y="101"/>
                    <a:pt x="5" y="10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3"/>
                    <a:pt x="5" y="4"/>
                  </a:cubicBezTo>
                  <a:close/>
                </a:path>
              </a:pathLst>
            </a:custGeom>
            <a:solidFill>
              <a:srgbClr val="9E9F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67" name="Freeform 17">
              <a:extLst>
                <a:ext uri="{FF2B5EF4-FFF2-40B4-BE49-F238E27FC236}">
                  <a16:creationId xmlns:a16="http://schemas.microsoft.com/office/drawing/2014/main" id="{54D774E1-1DC8-46B9-8376-4FB99C3FB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4286" y="3135313"/>
              <a:ext cx="26987" cy="436563"/>
            </a:xfrm>
            <a:custGeom>
              <a:avLst/>
              <a:gdLst>
                <a:gd name="T0" fmla="*/ 1 w 7"/>
                <a:gd name="T1" fmla="*/ 4 h 116"/>
                <a:gd name="T2" fmla="*/ 0 w 7"/>
                <a:gd name="T3" fmla="*/ 0 h 116"/>
                <a:gd name="T4" fmla="*/ 0 w 7"/>
                <a:gd name="T5" fmla="*/ 100 h 116"/>
                <a:gd name="T6" fmla="*/ 1 w 7"/>
                <a:gd name="T7" fmla="*/ 103 h 116"/>
                <a:gd name="T8" fmla="*/ 6 w 7"/>
                <a:gd name="T9" fmla="*/ 112 h 116"/>
                <a:gd name="T10" fmla="*/ 7 w 7"/>
                <a:gd name="T11" fmla="*/ 116 h 116"/>
                <a:gd name="T12" fmla="*/ 7 w 7"/>
                <a:gd name="T13" fmla="*/ 16 h 116"/>
                <a:gd name="T14" fmla="*/ 6 w 7"/>
                <a:gd name="T15" fmla="*/ 12 h 116"/>
                <a:gd name="T16" fmla="*/ 1 w 7"/>
                <a:gd name="T17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116">
                  <a:moveTo>
                    <a:pt x="1" y="4"/>
                  </a:moveTo>
                  <a:cubicBezTo>
                    <a:pt x="1" y="3"/>
                    <a:pt x="0" y="2"/>
                    <a:pt x="0" y="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1"/>
                    <a:pt x="0" y="102"/>
                    <a:pt x="1" y="103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7" y="113"/>
                    <a:pt x="7" y="114"/>
                    <a:pt x="7" y="1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5"/>
                    <a:pt x="7" y="14"/>
                    <a:pt x="6" y="12"/>
                  </a:cubicBezTo>
                  <a:lnTo>
                    <a:pt x="1" y="4"/>
                  </a:lnTo>
                  <a:close/>
                </a:path>
              </a:pathLst>
            </a:custGeom>
            <a:solidFill>
              <a:srgbClr val="7B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68" name="Freeform 18">
              <a:extLst>
                <a:ext uri="{FF2B5EF4-FFF2-40B4-BE49-F238E27FC236}">
                  <a16:creationId xmlns:a16="http://schemas.microsoft.com/office/drawing/2014/main" id="{E2C00805-4302-4658-A151-E43049A91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0224" y="3052763"/>
              <a:ext cx="820737" cy="854075"/>
            </a:xfrm>
            <a:custGeom>
              <a:avLst/>
              <a:gdLst>
                <a:gd name="T0" fmla="*/ 218 w 218"/>
                <a:gd name="T1" fmla="*/ 122 h 227"/>
                <a:gd name="T2" fmla="*/ 218 w 218"/>
                <a:gd name="T3" fmla="*/ 122 h 227"/>
                <a:gd name="T4" fmla="*/ 214 w 218"/>
                <a:gd name="T5" fmla="*/ 116 h 227"/>
                <a:gd name="T6" fmla="*/ 19 w 218"/>
                <a:gd name="T7" fmla="*/ 4 h 227"/>
                <a:gd name="T8" fmla="*/ 0 w 218"/>
                <a:gd name="T9" fmla="*/ 4 h 227"/>
                <a:gd name="T10" fmla="*/ 0 w 218"/>
                <a:gd name="T11" fmla="*/ 103 h 227"/>
                <a:gd name="T12" fmla="*/ 19 w 218"/>
                <a:gd name="T13" fmla="*/ 103 h 227"/>
                <a:gd name="T14" fmla="*/ 214 w 218"/>
                <a:gd name="T15" fmla="*/ 216 h 227"/>
                <a:gd name="T16" fmla="*/ 214 w 218"/>
                <a:gd name="T17" fmla="*/ 216 h 227"/>
                <a:gd name="T18" fmla="*/ 214 w 218"/>
                <a:gd name="T19" fmla="*/ 227 h 227"/>
                <a:gd name="T20" fmla="*/ 218 w 218"/>
                <a:gd name="T21" fmla="*/ 221 h 227"/>
                <a:gd name="T22" fmla="*/ 218 w 218"/>
                <a:gd name="T23" fmla="*/ 122 h 227"/>
                <a:gd name="T24" fmla="*/ 218 w 218"/>
                <a:gd name="T25" fmla="*/ 12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8" h="227">
                  <a:moveTo>
                    <a:pt x="218" y="122"/>
                  </a:moveTo>
                  <a:cubicBezTo>
                    <a:pt x="218" y="122"/>
                    <a:pt x="218" y="122"/>
                    <a:pt x="218" y="122"/>
                  </a:cubicBezTo>
                  <a:cubicBezTo>
                    <a:pt x="218" y="120"/>
                    <a:pt x="217" y="118"/>
                    <a:pt x="214" y="116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4" y="0"/>
                    <a:pt x="5" y="0"/>
                    <a:pt x="0" y="4"/>
                  </a:cubicBezTo>
                  <a:cubicBezTo>
                    <a:pt x="0" y="37"/>
                    <a:pt x="0" y="70"/>
                    <a:pt x="0" y="103"/>
                  </a:cubicBezTo>
                  <a:cubicBezTo>
                    <a:pt x="5" y="100"/>
                    <a:pt x="14" y="100"/>
                    <a:pt x="19" y="103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227"/>
                    <a:pt x="214" y="227"/>
                    <a:pt x="214" y="227"/>
                  </a:cubicBezTo>
                  <a:cubicBezTo>
                    <a:pt x="217" y="225"/>
                    <a:pt x="218" y="223"/>
                    <a:pt x="218" y="221"/>
                  </a:cubicBezTo>
                  <a:cubicBezTo>
                    <a:pt x="218" y="122"/>
                    <a:pt x="218" y="122"/>
                    <a:pt x="218" y="122"/>
                  </a:cubicBezTo>
                  <a:cubicBezTo>
                    <a:pt x="218" y="122"/>
                    <a:pt x="218" y="122"/>
                    <a:pt x="218" y="122"/>
                  </a:cubicBezTo>
                  <a:close/>
                </a:path>
              </a:pathLst>
            </a:custGeom>
            <a:solidFill>
              <a:srgbClr val="7B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69" name="Freeform 19">
              <a:extLst>
                <a:ext uri="{FF2B5EF4-FFF2-40B4-BE49-F238E27FC236}">
                  <a16:creationId xmlns:a16="http://schemas.microsoft.com/office/drawing/2014/main" id="{EE0A52C1-95DB-42D7-A02B-C46CF8B8C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0236" y="3068638"/>
              <a:ext cx="1169987" cy="873125"/>
            </a:xfrm>
            <a:custGeom>
              <a:avLst/>
              <a:gdLst>
                <a:gd name="T0" fmla="*/ 6 w 311"/>
                <a:gd name="T1" fmla="*/ 188 h 232"/>
                <a:gd name="T2" fmla="*/ 82 w 311"/>
                <a:gd name="T3" fmla="*/ 232 h 232"/>
                <a:gd name="T4" fmla="*/ 311 w 311"/>
                <a:gd name="T5" fmla="*/ 99 h 232"/>
                <a:gd name="T6" fmla="*/ 311 w 311"/>
                <a:gd name="T7" fmla="*/ 0 h 232"/>
                <a:gd name="T8" fmla="*/ 6 w 311"/>
                <a:gd name="T9" fmla="*/ 177 h 232"/>
                <a:gd name="T10" fmla="*/ 6 w 311"/>
                <a:gd name="T11" fmla="*/ 18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1" h="232">
                  <a:moveTo>
                    <a:pt x="6" y="188"/>
                  </a:moveTo>
                  <a:cubicBezTo>
                    <a:pt x="82" y="232"/>
                    <a:pt x="82" y="232"/>
                    <a:pt x="82" y="232"/>
                  </a:cubicBezTo>
                  <a:cubicBezTo>
                    <a:pt x="311" y="99"/>
                    <a:pt x="311" y="99"/>
                    <a:pt x="311" y="99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6" y="177"/>
                    <a:pt x="6" y="177"/>
                    <a:pt x="6" y="177"/>
                  </a:cubicBezTo>
                  <a:cubicBezTo>
                    <a:pt x="0" y="180"/>
                    <a:pt x="0" y="185"/>
                    <a:pt x="6" y="188"/>
                  </a:cubicBezTo>
                  <a:close/>
                </a:path>
              </a:pathLst>
            </a:custGeom>
            <a:solidFill>
              <a:srgbClr val="B1B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70" name="Freeform 20">
              <a:extLst>
                <a:ext uri="{FF2B5EF4-FFF2-40B4-BE49-F238E27FC236}">
                  <a16:creationId xmlns:a16="http://schemas.microsoft.com/office/drawing/2014/main" id="{FD768CFB-030B-41CA-AE36-D4F608A07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4761" y="3497263"/>
              <a:ext cx="452437" cy="647700"/>
            </a:xfrm>
            <a:custGeom>
              <a:avLst/>
              <a:gdLst>
                <a:gd name="T0" fmla="*/ 116 w 120"/>
                <a:gd name="T1" fmla="*/ 6 h 172"/>
                <a:gd name="T2" fmla="*/ 0 w 120"/>
                <a:gd name="T3" fmla="*/ 73 h 172"/>
                <a:gd name="T4" fmla="*/ 0 w 120"/>
                <a:gd name="T5" fmla="*/ 172 h 172"/>
                <a:gd name="T6" fmla="*/ 116 w 120"/>
                <a:gd name="T7" fmla="*/ 105 h 172"/>
                <a:gd name="T8" fmla="*/ 120 w 120"/>
                <a:gd name="T9" fmla="*/ 100 h 172"/>
                <a:gd name="T10" fmla="*/ 120 w 120"/>
                <a:gd name="T11" fmla="*/ 0 h 172"/>
                <a:gd name="T12" fmla="*/ 116 w 120"/>
                <a:gd name="T13" fmla="*/ 6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72">
                  <a:moveTo>
                    <a:pt x="116" y="6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8" y="104"/>
                    <a:pt x="120" y="102"/>
                    <a:pt x="120" y="10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0" y="2"/>
                    <a:pt x="118" y="4"/>
                    <a:pt x="116" y="6"/>
                  </a:cubicBezTo>
                  <a:close/>
                </a:path>
              </a:pathLst>
            </a:custGeom>
            <a:solidFill>
              <a:srgbClr val="B1B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71" name="Freeform 21">
              <a:extLst>
                <a:ext uri="{FF2B5EF4-FFF2-40B4-BE49-F238E27FC236}">
                  <a16:creationId xmlns:a16="http://schemas.microsoft.com/office/drawing/2014/main" id="{867C45FF-5060-41FA-9BA8-A375E08EB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8324" y="3752851"/>
              <a:ext cx="706437" cy="730250"/>
            </a:xfrm>
            <a:custGeom>
              <a:avLst/>
              <a:gdLst>
                <a:gd name="T0" fmla="*/ 184 w 188"/>
                <a:gd name="T1" fmla="*/ 4 h 194"/>
                <a:gd name="T2" fmla="*/ 165 w 188"/>
                <a:gd name="T3" fmla="*/ 0 h 194"/>
                <a:gd name="T4" fmla="*/ 157 w 188"/>
                <a:gd name="T5" fmla="*/ 1 h 194"/>
                <a:gd name="T6" fmla="*/ 151 w 188"/>
                <a:gd name="T7" fmla="*/ 5 h 194"/>
                <a:gd name="T8" fmla="*/ 3 w 188"/>
                <a:gd name="T9" fmla="*/ 91 h 194"/>
                <a:gd name="T10" fmla="*/ 1 w 188"/>
                <a:gd name="T11" fmla="*/ 95 h 194"/>
                <a:gd name="T12" fmla="*/ 0 w 188"/>
                <a:gd name="T13" fmla="*/ 194 h 194"/>
                <a:gd name="T14" fmla="*/ 3 w 188"/>
                <a:gd name="T15" fmla="*/ 191 h 194"/>
                <a:gd name="T16" fmla="*/ 9 w 188"/>
                <a:gd name="T17" fmla="*/ 187 h 194"/>
                <a:gd name="T18" fmla="*/ 151 w 188"/>
                <a:gd name="T19" fmla="*/ 105 h 194"/>
                <a:gd name="T20" fmla="*/ 157 w 188"/>
                <a:gd name="T21" fmla="*/ 101 h 194"/>
                <a:gd name="T22" fmla="*/ 165 w 188"/>
                <a:gd name="T23" fmla="*/ 100 h 194"/>
                <a:gd name="T24" fmla="*/ 183 w 188"/>
                <a:gd name="T25" fmla="*/ 103 h 194"/>
                <a:gd name="T26" fmla="*/ 188 w 188"/>
                <a:gd name="T27" fmla="*/ 104 h 194"/>
                <a:gd name="T28" fmla="*/ 188 w 188"/>
                <a:gd name="T29" fmla="*/ 5 h 194"/>
                <a:gd name="T30" fmla="*/ 184 w 188"/>
                <a:gd name="T31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8" h="194">
                  <a:moveTo>
                    <a:pt x="184" y="4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163" y="0"/>
                    <a:pt x="159" y="0"/>
                    <a:pt x="157" y="1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3" y="91"/>
                    <a:pt x="3" y="91"/>
                    <a:pt x="3" y="91"/>
                  </a:cubicBezTo>
                  <a:cubicBezTo>
                    <a:pt x="1" y="92"/>
                    <a:pt x="1" y="93"/>
                    <a:pt x="1" y="95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3"/>
                    <a:pt x="1" y="192"/>
                    <a:pt x="3" y="191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151" y="105"/>
                    <a:pt x="151" y="105"/>
                    <a:pt x="151" y="105"/>
                  </a:cubicBezTo>
                  <a:cubicBezTo>
                    <a:pt x="157" y="101"/>
                    <a:pt x="157" y="101"/>
                    <a:pt x="157" y="101"/>
                  </a:cubicBezTo>
                  <a:cubicBezTo>
                    <a:pt x="159" y="100"/>
                    <a:pt x="163" y="99"/>
                    <a:pt x="165" y="100"/>
                  </a:cubicBezTo>
                  <a:cubicBezTo>
                    <a:pt x="183" y="103"/>
                    <a:pt x="183" y="103"/>
                    <a:pt x="183" y="103"/>
                  </a:cubicBezTo>
                  <a:cubicBezTo>
                    <a:pt x="185" y="104"/>
                    <a:pt x="186" y="104"/>
                    <a:pt x="188" y="104"/>
                  </a:cubicBezTo>
                  <a:cubicBezTo>
                    <a:pt x="188" y="5"/>
                    <a:pt x="188" y="5"/>
                    <a:pt x="188" y="5"/>
                  </a:cubicBezTo>
                  <a:cubicBezTo>
                    <a:pt x="186" y="5"/>
                    <a:pt x="185" y="4"/>
                    <a:pt x="184" y="4"/>
                  </a:cubicBezTo>
                  <a:close/>
                </a:path>
              </a:pathLst>
            </a:custGeom>
            <a:solidFill>
              <a:srgbClr val="7B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72" name="Freeform 22">
              <a:extLst>
                <a:ext uri="{FF2B5EF4-FFF2-40B4-BE49-F238E27FC236}">
                  <a16:creationId xmlns:a16="http://schemas.microsoft.com/office/drawing/2014/main" id="{EA1D7981-BBE0-4DB2-A0FD-5AF304F83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0661" y="3744913"/>
              <a:ext cx="876300" cy="806450"/>
            </a:xfrm>
            <a:custGeom>
              <a:avLst/>
              <a:gdLst>
                <a:gd name="T0" fmla="*/ 233 w 233"/>
                <a:gd name="T1" fmla="*/ 114 h 214"/>
                <a:gd name="T2" fmla="*/ 232 w 233"/>
                <a:gd name="T3" fmla="*/ 214 h 214"/>
                <a:gd name="T4" fmla="*/ 226 w 233"/>
                <a:gd name="T5" fmla="*/ 204 h 214"/>
                <a:gd name="T6" fmla="*/ 132 w 233"/>
                <a:gd name="T7" fmla="*/ 150 h 214"/>
                <a:gd name="T8" fmla="*/ 109 w 233"/>
                <a:gd name="T9" fmla="*/ 147 h 214"/>
                <a:gd name="T10" fmla="*/ 98 w 233"/>
                <a:gd name="T11" fmla="*/ 149 h 214"/>
                <a:gd name="T12" fmla="*/ 75 w 233"/>
                <a:gd name="T13" fmla="*/ 146 h 214"/>
                <a:gd name="T14" fmla="*/ 4 w 233"/>
                <a:gd name="T15" fmla="*/ 105 h 214"/>
                <a:gd name="T16" fmla="*/ 0 w 233"/>
                <a:gd name="T17" fmla="*/ 99 h 214"/>
                <a:gd name="T18" fmla="*/ 1 w 233"/>
                <a:gd name="T19" fmla="*/ 0 h 214"/>
                <a:gd name="T20" fmla="*/ 5 w 233"/>
                <a:gd name="T21" fmla="*/ 6 h 214"/>
                <a:gd name="T22" fmla="*/ 75 w 233"/>
                <a:gd name="T23" fmla="*/ 46 h 214"/>
                <a:gd name="T24" fmla="*/ 98 w 233"/>
                <a:gd name="T25" fmla="*/ 49 h 214"/>
                <a:gd name="T26" fmla="*/ 109 w 233"/>
                <a:gd name="T27" fmla="*/ 47 h 214"/>
                <a:gd name="T28" fmla="*/ 132 w 233"/>
                <a:gd name="T29" fmla="*/ 50 h 214"/>
                <a:gd name="T30" fmla="*/ 226 w 233"/>
                <a:gd name="T31" fmla="*/ 105 h 214"/>
                <a:gd name="T32" fmla="*/ 233 w 233"/>
                <a:gd name="T33" fmla="*/ 1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3" h="214">
                  <a:moveTo>
                    <a:pt x="233" y="114"/>
                  </a:moveTo>
                  <a:cubicBezTo>
                    <a:pt x="232" y="214"/>
                    <a:pt x="232" y="214"/>
                    <a:pt x="232" y="214"/>
                  </a:cubicBezTo>
                  <a:cubicBezTo>
                    <a:pt x="232" y="210"/>
                    <a:pt x="230" y="206"/>
                    <a:pt x="226" y="204"/>
                  </a:cubicBezTo>
                  <a:cubicBezTo>
                    <a:pt x="132" y="150"/>
                    <a:pt x="132" y="150"/>
                    <a:pt x="132" y="150"/>
                  </a:cubicBezTo>
                  <a:cubicBezTo>
                    <a:pt x="126" y="147"/>
                    <a:pt x="116" y="145"/>
                    <a:pt x="109" y="147"/>
                  </a:cubicBezTo>
                  <a:cubicBezTo>
                    <a:pt x="98" y="149"/>
                    <a:pt x="98" y="149"/>
                    <a:pt x="98" y="149"/>
                  </a:cubicBezTo>
                  <a:cubicBezTo>
                    <a:pt x="90" y="150"/>
                    <a:pt x="80" y="149"/>
                    <a:pt x="75" y="146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2" y="104"/>
                    <a:pt x="0" y="101"/>
                    <a:pt x="0" y="9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"/>
                    <a:pt x="2" y="4"/>
                    <a:pt x="5" y="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80" y="49"/>
                    <a:pt x="91" y="51"/>
                    <a:pt x="98" y="49"/>
                  </a:cubicBezTo>
                  <a:cubicBezTo>
                    <a:pt x="109" y="47"/>
                    <a:pt x="109" y="47"/>
                    <a:pt x="109" y="47"/>
                  </a:cubicBezTo>
                  <a:cubicBezTo>
                    <a:pt x="116" y="46"/>
                    <a:pt x="127" y="47"/>
                    <a:pt x="132" y="50"/>
                  </a:cubicBezTo>
                  <a:cubicBezTo>
                    <a:pt x="226" y="105"/>
                    <a:pt x="226" y="105"/>
                    <a:pt x="226" y="105"/>
                  </a:cubicBezTo>
                  <a:cubicBezTo>
                    <a:pt x="230" y="107"/>
                    <a:pt x="233" y="111"/>
                    <a:pt x="233" y="114"/>
                  </a:cubicBezTo>
                  <a:close/>
                </a:path>
              </a:pathLst>
            </a:custGeom>
            <a:solidFill>
              <a:srgbClr val="6D6E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73" name="Freeform 23">
              <a:extLst>
                <a:ext uri="{FF2B5EF4-FFF2-40B4-BE49-F238E27FC236}">
                  <a16:creationId xmlns:a16="http://schemas.microsoft.com/office/drawing/2014/main" id="{BBA187D3-457A-430F-8E99-4710DB59E9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05899" y="2816226"/>
              <a:ext cx="2784474" cy="1611313"/>
            </a:xfrm>
            <a:custGeom>
              <a:avLst/>
              <a:gdLst>
                <a:gd name="T0" fmla="*/ 582 w 740"/>
                <a:gd name="T1" fmla="*/ 254 h 428"/>
                <a:gd name="T2" fmla="*/ 440 w 740"/>
                <a:gd name="T3" fmla="*/ 337 h 428"/>
                <a:gd name="T4" fmla="*/ 434 w 740"/>
                <a:gd name="T5" fmla="*/ 340 h 428"/>
                <a:gd name="T6" fmla="*/ 432 w 740"/>
                <a:gd name="T7" fmla="*/ 345 h 428"/>
                <a:gd name="T8" fmla="*/ 435 w 740"/>
                <a:gd name="T9" fmla="*/ 350 h 428"/>
                <a:gd name="T10" fmla="*/ 438 w 740"/>
                <a:gd name="T11" fmla="*/ 355 h 428"/>
                <a:gd name="T12" fmla="*/ 430 w 740"/>
                <a:gd name="T13" fmla="*/ 364 h 428"/>
                <a:gd name="T14" fmla="*/ 324 w 740"/>
                <a:gd name="T15" fmla="*/ 425 h 428"/>
                <a:gd name="T16" fmla="*/ 305 w 740"/>
                <a:gd name="T17" fmla="*/ 425 h 428"/>
                <a:gd name="T18" fmla="*/ 234 w 740"/>
                <a:gd name="T19" fmla="*/ 385 h 428"/>
                <a:gd name="T20" fmla="*/ 229 w 740"/>
                <a:gd name="T21" fmla="*/ 371 h 428"/>
                <a:gd name="T22" fmla="*/ 233 w 740"/>
                <a:gd name="T23" fmla="*/ 365 h 428"/>
                <a:gd name="T24" fmla="*/ 227 w 740"/>
                <a:gd name="T25" fmla="*/ 352 h 428"/>
                <a:gd name="T26" fmla="*/ 133 w 740"/>
                <a:gd name="T27" fmla="*/ 297 h 428"/>
                <a:gd name="T28" fmla="*/ 110 w 740"/>
                <a:gd name="T29" fmla="*/ 294 h 428"/>
                <a:gd name="T30" fmla="*/ 99 w 740"/>
                <a:gd name="T31" fmla="*/ 296 h 428"/>
                <a:gd name="T32" fmla="*/ 76 w 740"/>
                <a:gd name="T33" fmla="*/ 293 h 428"/>
                <a:gd name="T34" fmla="*/ 6 w 740"/>
                <a:gd name="T35" fmla="*/ 253 h 428"/>
                <a:gd name="T36" fmla="*/ 6 w 740"/>
                <a:gd name="T37" fmla="*/ 241 h 428"/>
                <a:gd name="T38" fmla="*/ 131 w 740"/>
                <a:gd name="T39" fmla="*/ 168 h 428"/>
                <a:gd name="T40" fmla="*/ 154 w 740"/>
                <a:gd name="T41" fmla="*/ 165 h 428"/>
                <a:gd name="T42" fmla="*/ 169 w 740"/>
                <a:gd name="T43" fmla="*/ 168 h 428"/>
                <a:gd name="T44" fmla="*/ 192 w 740"/>
                <a:gd name="T45" fmla="*/ 165 h 428"/>
                <a:gd name="T46" fmla="*/ 285 w 740"/>
                <a:gd name="T47" fmla="*/ 111 h 428"/>
                <a:gd name="T48" fmla="*/ 290 w 740"/>
                <a:gd name="T49" fmla="*/ 97 h 428"/>
                <a:gd name="T50" fmla="*/ 285 w 740"/>
                <a:gd name="T51" fmla="*/ 89 h 428"/>
                <a:gd name="T52" fmla="*/ 291 w 740"/>
                <a:gd name="T53" fmla="*/ 76 h 428"/>
                <a:gd name="T54" fmla="*/ 416 w 740"/>
                <a:gd name="T55" fmla="*/ 3 h 428"/>
                <a:gd name="T56" fmla="*/ 436 w 740"/>
                <a:gd name="T57" fmla="*/ 3 h 428"/>
                <a:gd name="T58" fmla="*/ 506 w 740"/>
                <a:gd name="T59" fmla="*/ 43 h 428"/>
                <a:gd name="T60" fmla="*/ 512 w 740"/>
                <a:gd name="T61" fmla="*/ 57 h 428"/>
                <a:gd name="T62" fmla="*/ 508 w 740"/>
                <a:gd name="T63" fmla="*/ 63 h 428"/>
                <a:gd name="T64" fmla="*/ 513 w 740"/>
                <a:gd name="T65" fmla="*/ 76 h 428"/>
                <a:gd name="T66" fmla="*/ 607 w 740"/>
                <a:gd name="T67" fmla="*/ 131 h 428"/>
                <a:gd name="T68" fmla="*/ 630 w 740"/>
                <a:gd name="T69" fmla="*/ 134 h 428"/>
                <a:gd name="T70" fmla="*/ 641 w 740"/>
                <a:gd name="T71" fmla="*/ 132 h 428"/>
                <a:gd name="T72" fmla="*/ 664 w 740"/>
                <a:gd name="T73" fmla="*/ 135 h 428"/>
                <a:gd name="T74" fmla="*/ 735 w 740"/>
                <a:gd name="T75" fmla="*/ 175 h 428"/>
                <a:gd name="T76" fmla="*/ 735 w 740"/>
                <a:gd name="T77" fmla="*/ 187 h 428"/>
                <a:gd name="T78" fmla="*/ 619 w 740"/>
                <a:gd name="T79" fmla="*/ 254 h 428"/>
                <a:gd name="T80" fmla="*/ 615 w 740"/>
                <a:gd name="T81" fmla="*/ 253 h 428"/>
                <a:gd name="T82" fmla="*/ 596 w 740"/>
                <a:gd name="T83" fmla="*/ 249 h 428"/>
                <a:gd name="T84" fmla="*/ 588 w 740"/>
                <a:gd name="T85" fmla="*/ 250 h 428"/>
                <a:gd name="T86" fmla="*/ 582 w 740"/>
                <a:gd name="T87" fmla="*/ 254 h 428"/>
                <a:gd name="T88" fmla="*/ 330 w 740"/>
                <a:gd name="T89" fmla="*/ 368 h 428"/>
                <a:gd name="T90" fmla="*/ 635 w 740"/>
                <a:gd name="T91" fmla="*/ 190 h 428"/>
                <a:gd name="T92" fmla="*/ 635 w 740"/>
                <a:gd name="T93" fmla="*/ 179 h 428"/>
                <a:gd name="T94" fmla="*/ 440 w 740"/>
                <a:gd name="T95" fmla="*/ 67 h 428"/>
                <a:gd name="T96" fmla="*/ 421 w 740"/>
                <a:gd name="T97" fmla="*/ 67 h 428"/>
                <a:gd name="T98" fmla="*/ 116 w 740"/>
                <a:gd name="T99" fmla="*/ 244 h 428"/>
                <a:gd name="T100" fmla="*/ 116 w 740"/>
                <a:gd name="T101" fmla="*/ 255 h 428"/>
                <a:gd name="T102" fmla="*/ 311 w 740"/>
                <a:gd name="T103" fmla="*/ 368 h 428"/>
                <a:gd name="T104" fmla="*/ 330 w 740"/>
                <a:gd name="T105" fmla="*/ 36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0" h="428">
                  <a:moveTo>
                    <a:pt x="582" y="254"/>
                  </a:moveTo>
                  <a:cubicBezTo>
                    <a:pt x="440" y="337"/>
                    <a:pt x="440" y="337"/>
                    <a:pt x="440" y="337"/>
                  </a:cubicBezTo>
                  <a:cubicBezTo>
                    <a:pt x="434" y="340"/>
                    <a:pt x="434" y="340"/>
                    <a:pt x="434" y="340"/>
                  </a:cubicBezTo>
                  <a:cubicBezTo>
                    <a:pt x="432" y="341"/>
                    <a:pt x="431" y="343"/>
                    <a:pt x="432" y="345"/>
                  </a:cubicBezTo>
                  <a:cubicBezTo>
                    <a:pt x="435" y="350"/>
                    <a:pt x="435" y="350"/>
                    <a:pt x="435" y="350"/>
                  </a:cubicBezTo>
                  <a:cubicBezTo>
                    <a:pt x="438" y="355"/>
                    <a:pt x="438" y="355"/>
                    <a:pt x="438" y="355"/>
                  </a:cubicBezTo>
                  <a:cubicBezTo>
                    <a:pt x="439" y="356"/>
                    <a:pt x="438" y="359"/>
                    <a:pt x="430" y="364"/>
                  </a:cubicBezTo>
                  <a:cubicBezTo>
                    <a:pt x="324" y="425"/>
                    <a:pt x="324" y="425"/>
                    <a:pt x="324" y="425"/>
                  </a:cubicBezTo>
                  <a:cubicBezTo>
                    <a:pt x="319" y="428"/>
                    <a:pt x="310" y="428"/>
                    <a:pt x="305" y="425"/>
                  </a:cubicBezTo>
                  <a:cubicBezTo>
                    <a:pt x="234" y="385"/>
                    <a:pt x="234" y="385"/>
                    <a:pt x="234" y="385"/>
                  </a:cubicBezTo>
                  <a:cubicBezTo>
                    <a:pt x="229" y="382"/>
                    <a:pt x="226" y="376"/>
                    <a:pt x="229" y="371"/>
                  </a:cubicBezTo>
                  <a:cubicBezTo>
                    <a:pt x="233" y="365"/>
                    <a:pt x="233" y="365"/>
                    <a:pt x="233" y="365"/>
                  </a:cubicBezTo>
                  <a:cubicBezTo>
                    <a:pt x="235" y="361"/>
                    <a:pt x="233" y="355"/>
                    <a:pt x="227" y="352"/>
                  </a:cubicBezTo>
                  <a:cubicBezTo>
                    <a:pt x="133" y="297"/>
                    <a:pt x="133" y="297"/>
                    <a:pt x="133" y="297"/>
                  </a:cubicBezTo>
                  <a:cubicBezTo>
                    <a:pt x="128" y="294"/>
                    <a:pt x="117" y="293"/>
                    <a:pt x="110" y="294"/>
                  </a:cubicBezTo>
                  <a:cubicBezTo>
                    <a:pt x="99" y="296"/>
                    <a:pt x="99" y="296"/>
                    <a:pt x="99" y="296"/>
                  </a:cubicBezTo>
                  <a:cubicBezTo>
                    <a:pt x="92" y="298"/>
                    <a:pt x="81" y="296"/>
                    <a:pt x="76" y="293"/>
                  </a:cubicBezTo>
                  <a:cubicBezTo>
                    <a:pt x="6" y="253"/>
                    <a:pt x="6" y="253"/>
                    <a:pt x="6" y="253"/>
                  </a:cubicBezTo>
                  <a:cubicBezTo>
                    <a:pt x="0" y="250"/>
                    <a:pt x="0" y="244"/>
                    <a:pt x="6" y="241"/>
                  </a:cubicBezTo>
                  <a:cubicBezTo>
                    <a:pt x="131" y="168"/>
                    <a:pt x="131" y="168"/>
                    <a:pt x="131" y="168"/>
                  </a:cubicBezTo>
                  <a:cubicBezTo>
                    <a:pt x="136" y="165"/>
                    <a:pt x="147" y="164"/>
                    <a:pt x="154" y="165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76" y="170"/>
                    <a:pt x="186" y="168"/>
                    <a:pt x="192" y="165"/>
                  </a:cubicBezTo>
                  <a:cubicBezTo>
                    <a:pt x="285" y="111"/>
                    <a:pt x="285" y="111"/>
                    <a:pt x="285" y="111"/>
                  </a:cubicBezTo>
                  <a:cubicBezTo>
                    <a:pt x="290" y="108"/>
                    <a:pt x="293" y="102"/>
                    <a:pt x="290" y="97"/>
                  </a:cubicBezTo>
                  <a:cubicBezTo>
                    <a:pt x="285" y="89"/>
                    <a:pt x="285" y="89"/>
                    <a:pt x="285" y="89"/>
                  </a:cubicBezTo>
                  <a:cubicBezTo>
                    <a:pt x="283" y="85"/>
                    <a:pt x="285" y="79"/>
                    <a:pt x="291" y="76"/>
                  </a:cubicBezTo>
                  <a:cubicBezTo>
                    <a:pt x="416" y="3"/>
                    <a:pt x="416" y="3"/>
                    <a:pt x="416" y="3"/>
                  </a:cubicBezTo>
                  <a:cubicBezTo>
                    <a:pt x="421" y="0"/>
                    <a:pt x="430" y="0"/>
                    <a:pt x="436" y="3"/>
                  </a:cubicBezTo>
                  <a:cubicBezTo>
                    <a:pt x="506" y="43"/>
                    <a:pt x="506" y="43"/>
                    <a:pt x="506" y="43"/>
                  </a:cubicBezTo>
                  <a:cubicBezTo>
                    <a:pt x="512" y="46"/>
                    <a:pt x="514" y="52"/>
                    <a:pt x="512" y="57"/>
                  </a:cubicBezTo>
                  <a:cubicBezTo>
                    <a:pt x="508" y="63"/>
                    <a:pt x="508" y="63"/>
                    <a:pt x="508" y="63"/>
                  </a:cubicBezTo>
                  <a:cubicBezTo>
                    <a:pt x="505" y="67"/>
                    <a:pt x="508" y="73"/>
                    <a:pt x="513" y="76"/>
                  </a:cubicBezTo>
                  <a:cubicBezTo>
                    <a:pt x="607" y="131"/>
                    <a:pt x="607" y="131"/>
                    <a:pt x="607" y="131"/>
                  </a:cubicBezTo>
                  <a:cubicBezTo>
                    <a:pt x="613" y="134"/>
                    <a:pt x="623" y="135"/>
                    <a:pt x="630" y="134"/>
                  </a:cubicBezTo>
                  <a:cubicBezTo>
                    <a:pt x="641" y="132"/>
                    <a:pt x="641" y="132"/>
                    <a:pt x="641" y="132"/>
                  </a:cubicBezTo>
                  <a:cubicBezTo>
                    <a:pt x="649" y="130"/>
                    <a:pt x="659" y="132"/>
                    <a:pt x="664" y="135"/>
                  </a:cubicBezTo>
                  <a:cubicBezTo>
                    <a:pt x="735" y="175"/>
                    <a:pt x="735" y="175"/>
                    <a:pt x="735" y="175"/>
                  </a:cubicBezTo>
                  <a:cubicBezTo>
                    <a:pt x="740" y="178"/>
                    <a:pt x="740" y="184"/>
                    <a:pt x="735" y="187"/>
                  </a:cubicBezTo>
                  <a:cubicBezTo>
                    <a:pt x="619" y="254"/>
                    <a:pt x="619" y="254"/>
                    <a:pt x="619" y="254"/>
                  </a:cubicBezTo>
                  <a:cubicBezTo>
                    <a:pt x="617" y="254"/>
                    <a:pt x="616" y="253"/>
                    <a:pt x="615" y="253"/>
                  </a:cubicBezTo>
                  <a:cubicBezTo>
                    <a:pt x="596" y="249"/>
                    <a:pt x="596" y="249"/>
                    <a:pt x="596" y="249"/>
                  </a:cubicBezTo>
                  <a:cubicBezTo>
                    <a:pt x="594" y="249"/>
                    <a:pt x="590" y="249"/>
                    <a:pt x="588" y="250"/>
                  </a:cubicBezTo>
                  <a:lnTo>
                    <a:pt x="582" y="254"/>
                  </a:lnTo>
                  <a:close/>
                  <a:moveTo>
                    <a:pt x="330" y="368"/>
                  </a:moveTo>
                  <a:cubicBezTo>
                    <a:pt x="635" y="190"/>
                    <a:pt x="635" y="190"/>
                    <a:pt x="635" y="190"/>
                  </a:cubicBezTo>
                  <a:cubicBezTo>
                    <a:pt x="641" y="187"/>
                    <a:pt x="641" y="182"/>
                    <a:pt x="635" y="179"/>
                  </a:cubicBezTo>
                  <a:cubicBezTo>
                    <a:pt x="440" y="67"/>
                    <a:pt x="440" y="67"/>
                    <a:pt x="440" y="67"/>
                  </a:cubicBezTo>
                  <a:cubicBezTo>
                    <a:pt x="435" y="63"/>
                    <a:pt x="426" y="63"/>
                    <a:pt x="421" y="67"/>
                  </a:cubicBezTo>
                  <a:cubicBezTo>
                    <a:pt x="116" y="244"/>
                    <a:pt x="116" y="244"/>
                    <a:pt x="116" y="244"/>
                  </a:cubicBezTo>
                  <a:cubicBezTo>
                    <a:pt x="110" y="247"/>
                    <a:pt x="110" y="252"/>
                    <a:pt x="116" y="255"/>
                  </a:cubicBezTo>
                  <a:cubicBezTo>
                    <a:pt x="311" y="368"/>
                    <a:pt x="311" y="368"/>
                    <a:pt x="311" y="368"/>
                  </a:cubicBezTo>
                  <a:cubicBezTo>
                    <a:pt x="316" y="371"/>
                    <a:pt x="325" y="371"/>
                    <a:pt x="330" y="368"/>
                  </a:cubicBezTo>
                </a:path>
              </a:pathLst>
            </a:cu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74" name="Freeform 24">
              <a:extLst>
                <a:ext uri="{FF2B5EF4-FFF2-40B4-BE49-F238E27FC236}">
                  <a16:creationId xmlns:a16="http://schemas.microsoft.com/office/drawing/2014/main" id="{84178EF7-2A78-4E43-A219-BB68A23CBA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4736" y="4227513"/>
              <a:ext cx="288925" cy="565150"/>
            </a:xfrm>
            <a:custGeom>
              <a:avLst/>
              <a:gdLst>
                <a:gd name="T0" fmla="*/ 6 w 77"/>
                <a:gd name="T1" fmla="*/ 10 h 150"/>
                <a:gd name="T2" fmla="*/ 0 w 77"/>
                <a:gd name="T3" fmla="*/ 0 h 150"/>
                <a:gd name="T4" fmla="*/ 0 w 77"/>
                <a:gd name="T5" fmla="*/ 99 h 150"/>
                <a:gd name="T6" fmla="*/ 6 w 77"/>
                <a:gd name="T7" fmla="*/ 109 h 150"/>
                <a:gd name="T8" fmla="*/ 76 w 77"/>
                <a:gd name="T9" fmla="*/ 150 h 150"/>
                <a:gd name="T10" fmla="*/ 77 w 77"/>
                <a:gd name="T11" fmla="*/ 50 h 150"/>
                <a:gd name="T12" fmla="*/ 6 w 77"/>
                <a:gd name="T13" fmla="*/ 1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150">
                  <a:moveTo>
                    <a:pt x="6" y="10"/>
                  </a:moveTo>
                  <a:cubicBezTo>
                    <a:pt x="2" y="7"/>
                    <a:pt x="0" y="3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3"/>
                    <a:pt x="2" y="107"/>
                    <a:pt x="6" y="109"/>
                  </a:cubicBezTo>
                  <a:cubicBezTo>
                    <a:pt x="76" y="150"/>
                    <a:pt x="76" y="150"/>
                    <a:pt x="76" y="150"/>
                  </a:cubicBezTo>
                  <a:cubicBezTo>
                    <a:pt x="77" y="50"/>
                    <a:pt x="77" y="50"/>
                    <a:pt x="77" y="50"/>
                  </a:cubicBezTo>
                  <a:lnTo>
                    <a:pt x="6" y="10"/>
                  </a:lnTo>
                  <a:close/>
                </a:path>
              </a:pathLst>
            </a:custGeom>
            <a:solidFill>
              <a:srgbClr val="7B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75" name="Freeform 25">
              <a:extLst>
                <a:ext uri="{FF2B5EF4-FFF2-40B4-BE49-F238E27FC236}">
                  <a16:creationId xmlns:a16="http://schemas.microsoft.com/office/drawing/2014/main" id="{DB482F78-F431-4B4A-9CB0-011BBF5D2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50486" y="4159251"/>
              <a:ext cx="503237" cy="644525"/>
            </a:xfrm>
            <a:custGeom>
              <a:avLst/>
              <a:gdLst>
                <a:gd name="T0" fmla="*/ 126 w 134"/>
                <a:gd name="T1" fmla="*/ 7 h 171"/>
                <a:gd name="T2" fmla="*/ 20 w 134"/>
                <a:gd name="T3" fmla="*/ 68 h 171"/>
                <a:gd name="T4" fmla="*/ 1 w 134"/>
                <a:gd name="T5" fmla="*/ 68 h 171"/>
                <a:gd name="T6" fmla="*/ 0 w 134"/>
                <a:gd name="T7" fmla="*/ 168 h 171"/>
                <a:gd name="T8" fmla="*/ 20 w 134"/>
                <a:gd name="T9" fmla="*/ 168 h 171"/>
                <a:gd name="T10" fmla="*/ 126 w 134"/>
                <a:gd name="T11" fmla="*/ 106 h 171"/>
                <a:gd name="T12" fmla="*/ 134 w 134"/>
                <a:gd name="T13" fmla="*/ 101 h 171"/>
                <a:gd name="T14" fmla="*/ 134 w 134"/>
                <a:gd name="T15" fmla="*/ 0 h 171"/>
                <a:gd name="T16" fmla="*/ 126 w 134"/>
                <a:gd name="T17" fmla="*/ 7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" h="171">
                  <a:moveTo>
                    <a:pt x="126" y="7"/>
                  </a:moveTo>
                  <a:cubicBezTo>
                    <a:pt x="20" y="68"/>
                    <a:pt x="20" y="68"/>
                    <a:pt x="20" y="68"/>
                  </a:cubicBezTo>
                  <a:cubicBezTo>
                    <a:pt x="15" y="71"/>
                    <a:pt x="6" y="71"/>
                    <a:pt x="1" y="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6" y="171"/>
                    <a:pt x="15" y="171"/>
                    <a:pt x="20" y="168"/>
                  </a:cubicBezTo>
                  <a:cubicBezTo>
                    <a:pt x="126" y="106"/>
                    <a:pt x="126" y="106"/>
                    <a:pt x="126" y="106"/>
                  </a:cubicBezTo>
                  <a:cubicBezTo>
                    <a:pt x="128" y="105"/>
                    <a:pt x="131" y="103"/>
                    <a:pt x="134" y="101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4" y="1"/>
                    <a:pt x="132" y="3"/>
                    <a:pt x="126" y="7"/>
                  </a:cubicBezTo>
                  <a:close/>
                </a:path>
              </a:pathLst>
            </a:custGeom>
            <a:solidFill>
              <a:srgbClr val="B1B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76" name="Freeform 26">
              <a:extLst>
                <a:ext uri="{FF2B5EF4-FFF2-40B4-BE49-F238E27FC236}">
                  <a16:creationId xmlns:a16="http://schemas.microsoft.com/office/drawing/2014/main" id="{D875DAB5-2429-46A2-B824-F89ACB1B4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74373" y="3840163"/>
              <a:ext cx="584200" cy="862013"/>
            </a:xfrm>
            <a:custGeom>
              <a:avLst/>
              <a:gdLst>
                <a:gd name="T0" fmla="*/ 368 w 368"/>
                <a:gd name="T1" fmla="*/ 0 h 543"/>
                <a:gd name="T2" fmla="*/ 368 w 368"/>
                <a:gd name="T3" fmla="*/ 332 h 543"/>
                <a:gd name="T4" fmla="*/ 0 w 368"/>
                <a:gd name="T5" fmla="*/ 543 h 543"/>
                <a:gd name="T6" fmla="*/ 3 w 368"/>
                <a:gd name="T7" fmla="*/ 213 h 543"/>
                <a:gd name="T8" fmla="*/ 368 w 368"/>
                <a:gd name="T9" fmla="*/ 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8" h="543">
                  <a:moveTo>
                    <a:pt x="368" y="0"/>
                  </a:moveTo>
                  <a:lnTo>
                    <a:pt x="368" y="332"/>
                  </a:lnTo>
                  <a:lnTo>
                    <a:pt x="0" y="543"/>
                  </a:lnTo>
                  <a:lnTo>
                    <a:pt x="3" y="213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C0B6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77" name="Freeform 27">
              <a:extLst>
                <a:ext uri="{FF2B5EF4-FFF2-40B4-BE49-F238E27FC236}">
                  <a16:creationId xmlns:a16="http://schemas.microsoft.com/office/drawing/2014/main" id="{4BF7DFC9-FA82-4C94-A71D-6E0E3107F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53724" y="3824288"/>
              <a:ext cx="711200" cy="884238"/>
            </a:xfrm>
            <a:custGeom>
              <a:avLst/>
              <a:gdLst>
                <a:gd name="T0" fmla="*/ 189 w 189"/>
                <a:gd name="T1" fmla="*/ 0 h 235"/>
                <a:gd name="T2" fmla="*/ 189 w 189"/>
                <a:gd name="T3" fmla="*/ 140 h 235"/>
                <a:gd name="T4" fmla="*/ 187 w 189"/>
                <a:gd name="T5" fmla="*/ 144 h 235"/>
                <a:gd name="T6" fmla="*/ 187 w 189"/>
                <a:gd name="T7" fmla="*/ 4 h 235"/>
                <a:gd name="T8" fmla="*/ 189 w 189"/>
                <a:gd name="T9" fmla="*/ 0 h 235"/>
                <a:gd name="T10" fmla="*/ 25 w 189"/>
                <a:gd name="T11" fmla="*/ 95 h 235"/>
                <a:gd name="T12" fmla="*/ 6 w 189"/>
                <a:gd name="T13" fmla="*/ 91 h 235"/>
                <a:gd name="T14" fmla="*/ 3 w 189"/>
                <a:gd name="T15" fmla="*/ 90 h 235"/>
                <a:gd name="T16" fmla="*/ 0 w 189"/>
                <a:gd name="T17" fmla="*/ 87 h 235"/>
                <a:gd name="T18" fmla="*/ 0 w 189"/>
                <a:gd name="T19" fmla="*/ 227 h 235"/>
                <a:gd name="T20" fmla="*/ 2 w 189"/>
                <a:gd name="T21" fmla="*/ 230 h 235"/>
                <a:gd name="T22" fmla="*/ 6 w 189"/>
                <a:gd name="T23" fmla="*/ 231 h 235"/>
                <a:gd name="T24" fmla="*/ 24 w 189"/>
                <a:gd name="T25" fmla="*/ 235 h 235"/>
                <a:gd name="T26" fmla="*/ 32 w 189"/>
                <a:gd name="T27" fmla="*/ 233 h 235"/>
                <a:gd name="T28" fmla="*/ 33 w 189"/>
                <a:gd name="T29" fmla="*/ 94 h 235"/>
                <a:gd name="T30" fmla="*/ 25 w 189"/>
                <a:gd name="T31" fmla="*/ 9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9" h="235">
                  <a:moveTo>
                    <a:pt x="189" y="0"/>
                  </a:moveTo>
                  <a:cubicBezTo>
                    <a:pt x="189" y="140"/>
                    <a:pt x="189" y="140"/>
                    <a:pt x="189" y="140"/>
                  </a:cubicBezTo>
                  <a:cubicBezTo>
                    <a:pt x="189" y="141"/>
                    <a:pt x="188" y="143"/>
                    <a:pt x="187" y="144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9" y="3"/>
                    <a:pt x="189" y="2"/>
                    <a:pt x="189" y="0"/>
                  </a:cubicBezTo>
                  <a:close/>
                  <a:moveTo>
                    <a:pt x="25" y="95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5" y="91"/>
                    <a:pt x="4" y="90"/>
                    <a:pt x="3" y="90"/>
                  </a:cubicBezTo>
                  <a:cubicBezTo>
                    <a:pt x="2" y="89"/>
                    <a:pt x="1" y="88"/>
                    <a:pt x="0" y="87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28"/>
                    <a:pt x="1" y="229"/>
                    <a:pt x="2" y="230"/>
                  </a:cubicBezTo>
                  <a:cubicBezTo>
                    <a:pt x="4" y="230"/>
                    <a:pt x="5" y="231"/>
                    <a:pt x="6" y="231"/>
                  </a:cubicBezTo>
                  <a:cubicBezTo>
                    <a:pt x="24" y="235"/>
                    <a:pt x="24" y="235"/>
                    <a:pt x="24" y="235"/>
                  </a:cubicBezTo>
                  <a:cubicBezTo>
                    <a:pt x="27" y="235"/>
                    <a:pt x="31" y="235"/>
                    <a:pt x="32" y="233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1" y="95"/>
                    <a:pt x="27" y="95"/>
                    <a:pt x="25" y="95"/>
                  </a:cubicBezTo>
                  <a:close/>
                </a:path>
              </a:pathLst>
            </a:custGeom>
            <a:solidFill>
              <a:srgbClr val="9D95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78" name="Freeform 28">
              <a:extLst>
                <a:ext uri="{FF2B5EF4-FFF2-40B4-BE49-F238E27FC236}">
                  <a16:creationId xmlns:a16="http://schemas.microsoft.com/office/drawing/2014/main" id="{9F92D697-6992-4C76-B71A-01F2E70D1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8324" y="3752851"/>
              <a:ext cx="741362" cy="428625"/>
            </a:xfrm>
            <a:custGeom>
              <a:avLst/>
              <a:gdLst>
                <a:gd name="T0" fmla="*/ 187 w 197"/>
                <a:gd name="T1" fmla="*/ 5 h 114"/>
                <a:gd name="T2" fmla="*/ 190 w 197"/>
                <a:gd name="T3" fmla="*/ 7 h 114"/>
                <a:gd name="T4" fmla="*/ 196 w 197"/>
                <a:gd name="T5" fmla="*/ 18 h 114"/>
                <a:gd name="T6" fmla="*/ 194 w 197"/>
                <a:gd name="T7" fmla="*/ 23 h 114"/>
                <a:gd name="T8" fmla="*/ 40 w 197"/>
                <a:gd name="T9" fmla="*/ 113 h 114"/>
                <a:gd name="T10" fmla="*/ 32 w 197"/>
                <a:gd name="T11" fmla="*/ 114 h 114"/>
                <a:gd name="T12" fmla="*/ 13 w 197"/>
                <a:gd name="T13" fmla="*/ 110 h 114"/>
                <a:gd name="T14" fmla="*/ 10 w 197"/>
                <a:gd name="T15" fmla="*/ 109 h 114"/>
                <a:gd name="T16" fmla="*/ 7 w 197"/>
                <a:gd name="T17" fmla="*/ 106 h 114"/>
                <a:gd name="T18" fmla="*/ 1 w 197"/>
                <a:gd name="T19" fmla="*/ 96 h 114"/>
                <a:gd name="T20" fmla="*/ 3 w 197"/>
                <a:gd name="T21" fmla="*/ 91 h 114"/>
                <a:gd name="T22" fmla="*/ 157 w 197"/>
                <a:gd name="T23" fmla="*/ 1 h 114"/>
                <a:gd name="T24" fmla="*/ 165 w 197"/>
                <a:gd name="T25" fmla="*/ 0 h 114"/>
                <a:gd name="T26" fmla="*/ 184 w 197"/>
                <a:gd name="T27" fmla="*/ 4 h 114"/>
                <a:gd name="T28" fmla="*/ 187 w 197"/>
                <a:gd name="T29" fmla="*/ 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7" h="114">
                  <a:moveTo>
                    <a:pt x="187" y="5"/>
                  </a:moveTo>
                  <a:cubicBezTo>
                    <a:pt x="189" y="6"/>
                    <a:pt x="189" y="7"/>
                    <a:pt x="190" y="7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7" y="20"/>
                    <a:pt x="196" y="22"/>
                    <a:pt x="194" y="2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38" y="114"/>
                    <a:pt x="34" y="114"/>
                    <a:pt x="32" y="114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2" y="110"/>
                    <a:pt x="11" y="109"/>
                    <a:pt x="10" y="109"/>
                  </a:cubicBezTo>
                  <a:cubicBezTo>
                    <a:pt x="9" y="108"/>
                    <a:pt x="8" y="107"/>
                    <a:pt x="7" y="106"/>
                  </a:cubicBezTo>
                  <a:cubicBezTo>
                    <a:pt x="1" y="96"/>
                    <a:pt x="1" y="96"/>
                    <a:pt x="1" y="96"/>
                  </a:cubicBezTo>
                  <a:cubicBezTo>
                    <a:pt x="0" y="94"/>
                    <a:pt x="1" y="92"/>
                    <a:pt x="3" y="91"/>
                  </a:cubicBezTo>
                  <a:cubicBezTo>
                    <a:pt x="157" y="1"/>
                    <a:pt x="157" y="1"/>
                    <a:pt x="157" y="1"/>
                  </a:cubicBezTo>
                  <a:cubicBezTo>
                    <a:pt x="159" y="0"/>
                    <a:pt x="163" y="0"/>
                    <a:pt x="165" y="0"/>
                  </a:cubicBezTo>
                  <a:cubicBezTo>
                    <a:pt x="184" y="4"/>
                    <a:pt x="184" y="4"/>
                    <a:pt x="184" y="4"/>
                  </a:cubicBezTo>
                  <a:cubicBezTo>
                    <a:pt x="185" y="4"/>
                    <a:pt x="186" y="5"/>
                    <a:pt x="187" y="5"/>
                  </a:cubicBezTo>
                  <a:close/>
                </a:path>
              </a:pathLst>
            </a:custGeom>
            <a:solidFill>
              <a:srgbClr val="D7CB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79" name="Freeform 29">
              <a:extLst>
                <a:ext uri="{FF2B5EF4-FFF2-40B4-BE49-F238E27FC236}">
                  <a16:creationId xmlns:a16="http://schemas.microsoft.com/office/drawing/2014/main" id="{7331B6B2-A039-4350-A30D-89694BE48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3436" y="3173413"/>
              <a:ext cx="1004887" cy="919163"/>
            </a:xfrm>
            <a:custGeom>
              <a:avLst/>
              <a:gdLst>
                <a:gd name="T0" fmla="*/ 633 w 633"/>
                <a:gd name="T1" fmla="*/ 427 h 579"/>
                <a:gd name="T2" fmla="*/ 633 w 633"/>
                <a:gd name="T3" fmla="*/ 0 h 579"/>
                <a:gd name="T4" fmla="*/ 0 w 633"/>
                <a:gd name="T5" fmla="*/ 365 h 579"/>
                <a:gd name="T6" fmla="*/ 370 w 633"/>
                <a:gd name="T7" fmla="*/ 579 h 579"/>
                <a:gd name="T8" fmla="*/ 633 w 633"/>
                <a:gd name="T9" fmla="*/ 427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3" h="579">
                  <a:moveTo>
                    <a:pt x="633" y="427"/>
                  </a:moveTo>
                  <a:lnTo>
                    <a:pt x="633" y="0"/>
                  </a:lnTo>
                  <a:lnTo>
                    <a:pt x="0" y="365"/>
                  </a:lnTo>
                  <a:lnTo>
                    <a:pt x="370" y="579"/>
                  </a:lnTo>
                  <a:lnTo>
                    <a:pt x="633" y="427"/>
                  </a:lnTo>
                  <a:close/>
                </a:path>
              </a:pathLst>
            </a:custGeom>
            <a:solidFill>
              <a:srgbClr val="9D95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80" name="Freeform 30">
              <a:extLst>
                <a:ext uri="{FF2B5EF4-FFF2-40B4-BE49-F238E27FC236}">
                  <a16:creationId xmlns:a16="http://schemas.microsoft.com/office/drawing/2014/main" id="{CDCB38A4-45E9-4567-853D-10856DF36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8324" y="3173413"/>
              <a:ext cx="587375" cy="677863"/>
            </a:xfrm>
            <a:custGeom>
              <a:avLst/>
              <a:gdLst>
                <a:gd name="T0" fmla="*/ 370 w 370"/>
                <a:gd name="T1" fmla="*/ 213 h 427"/>
                <a:gd name="T2" fmla="*/ 0 w 370"/>
                <a:gd name="T3" fmla="*/ 0 h 427"/>
                <a:gd name="T4" fmla="*/ 0 w 370"/>
                <a:gd name="T5" fmla="*/ 427 h 427"/>
                <a:gd name="T6" fmla="*/ 370 w 370"/>
                <a:gd name="T7" fmla="*/ 213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0" h="427">
                  <a:moveTo>
                    <a:pt x="370" y="213"/>
                  </a:moveTo>
                  <a:lnTo>
                    <a:pt x="0" y="0"/>
                  </a:lnTo>
                  <a:lnTo>
                    <a:pt x="0" y="427"/>
                  </a:lnTo>
                  <a:lnTo>
                    <a:pt x="370" y="213"/>
                  </a:lnTo>
                  <a:close/>
                </a:path>
              </a:pathLst>
            </a:custGeom>
            <a:solidFill>
              <a:srgbClr val="C0B6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81" name="Freeform 31">
              <a:extLst>
                <a:ext uri="{FF2B5EF4-FFF2-40B4-BE49-F238E27FC236}">
                  <a16:creationId xmlns:a16="http://schemas.microsoft.com/office/drawing/2014/main" id="{0C5A4374-ADD0-424D-AA79-F1B4CE16DC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0236" y="3052763"/>
              <a:ext cx="1998662" cy="1158875"/>
            </a:xfrm>
            <a:custGeom>
              <a:avLst/>
              <a:gdLst>
                <a:gd name="T0" fmla="*/ 525 w 531"/>
                <a:gd name="T1" fmla="*/ 116 h 308"/>
                <a:gd name="T2" fmla="*/ 330 w 531"/>
                <a:gd name="T3" fmla="*/ 4 h 308"/>
                <a:gd name="T4" fmla="*/ 311 w 531"/>
                <a:gd name="T5" fmla="*/ 4 h 308"/>
                <a:gd name="T6" fmla="*/ 6 w 531"/>
                <a:gd name="T7" fmla="*/ 181 h 308"/>
                <a:gd name="T8" fmla="*/ 6 w 531"/>
                <a:gd name="T9" fmla="*/ 192 h 308"/>
                <a:gd name="T10" fmla="*/ 201 w 531"/>
                <a:gd name="T11" fmla="*/ 305 h 308"/>
                <a:gd name="T12" fmla="*/ 220 w 531"/>
                <a:gd name="T13" fmla="*/ 305 h 308"/>
                <a:gd name="T14" fmla="*/ 525 w 531"/>
                <a:gd name="T15" fmla="*/ 127 h 308"/>
                <a:gd name="T16" fmla="*/ 525 w 531"/>
                <a:gd name="T17" fmla="*/ 116 h 308"/>
                <a:gd name="T18" fmla="*/ 210 w 531"/>
                <a:gd name="T19" fmla="*/ 276 h 308"/>
                <a:gd name="T20" fmla="*/ 54 w 531"/>
                <a:gd name="T21" fmla="*/ 186 h 308"/>
                <a:gd name="T22" fmla="*/ 321 w 531"/>
                <a:gd name="T23" fmla="*/ 32 h 308"/>
                <a:gd name="T24" fmla="*/ 477 w 531"/>
                <a:gd name="T25" fmla="*/ 122 h 308"/>
                <a:gd name="T26" fmla="*/ 210 w 531"/>
                <a:gd name="T27" fmla="*/ 276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1" h="308">
                  <a:moveTo>
                    <a:pt x="525" y="116"/>
                  </a:moveTo>
                  <a:cubicBezTo>
                    <a:pt x="330" y="4"/>
                    <a:pt x="330" y="4"/>
                    <a:pt x="330" y="4"/>
                  </a:cubicBezTo>
                  <a:cubicBezTo>
                    <a:pt x="325" y="0"/>
                    <a:pt x="316" y="0"/>
                    <a:pt x="311" y="4"/>
                  </a:cubicBezTo>
                  <a:cubicBezTo>
                    <a:pt x="6" y="181"/>
                    <a:pt x="6" y="181"/>
                    <a:pt x="6" y="181"/>
                  </a:cubicBezTo>
                  <a:cubicBezTo>
                    <a:pt x="0" y="184"/>
                    <a:pt x="0" y="189"/>
                    <a:pt x="6" y="192"/>
                  </a:cubicBezTo>
                  <a:cubicBezTo>
                    <a:pt x="201" y="305"/>
                    <a:pt x="201" y="305"/>
                    <a:pt x="201" y="305"/>
                  </a:cubicBezTo>
                  <a:cubicBezTo>
                    <a:pt x="206" y="308"/>
                    <a:pt x="215" y="308"/>
                    <a:pt x="220" y="305"/>
                  </a:cubicBezTo>
                  <a:cubicBezTo>
                    <a:pt x="525" y="127"/>
                    <a:pt x="525" y="127"/>
                    <a:pt x="525" y="127"/>
                  </a:cubicBezTo>
                  <a:cubicBezTo>
                    <a:pt x="531" y="124"/>
                    <a:pt x="531" y="119"/>
                    <a:pt x="525" y="116"/>
                  </a:cubicBezTo>
                  <a:close/>
                  <a:moveTo>
                    <a:pt x="210" y="276"/>
                  </a:moveTo>
                  <a:cubicBezTo>
                    <a:pt x="54" y="186"/>
                    <a:pt x="54" y="186"/>
                    <a:pt x="54" y="186"/>
                  </a:cubicBezTo>
                  <a:cubicBezTo>
                    <a:pt x="321" y="32"/>
                    <a:pt x="321" y="32"/>
                    <a:pt x="321" y="32"/>
                  </a:cubicBezTo>
                  <a:cubicBezTo>
                    <a:pt x="477" y="122"/>
                    <a:pt x="477" y="122"/>
                    <a:pt x="477" y="122"/>
                  </a:cubicBezTo>
                  <a:lnTo>
                    <a:pt x="210" y="276"/>
                  </a:lnTo>
                  <a:close/>
                </a:path>
              </a:pathLst>
            </a:custGeom>
            <a:solidFill>
              <a:srgbClr val="D7CB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82" name="Freeform 32">
              <a:extLst>
                <a:ext uri="{FF2B5EF4-FFF2-40B4-BE49-F238E27FC236}">
                  <a16:creationId xmlns:a16="http://schemas.microsoft.com/office/drawing/2014/main" id="{2912F88A-5C11-4296-85DC-570AA8386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3586" y="3919538"/>
              <a:ext cx="488950" cy="703263"/>
            </a:xfrm>
            <a:custGeom>
              <a:avLst/>
              <a:gdLst>
                <a:gd name="T0" fmla="*/ 0 w 308"/>
                <a:gd name="T1" fmla="*/ 180 h 443"/>
                <a:gd name="T2" fmla="*/ 0 w 308"/>
                <a:gd name="T3" fmla="*/ 443 h 443"/>
                <a:gd name="T4" fmla="*/ 308 w 308"/>
                <a:gd name="T5" fmla="*/ 265 h 443"/>
                <a:gd name="T6" fmla="*/ 308 w 308"/>
                <a:gd name="T7" fmla="*/ 0 h 443"/>
                <a:gd name="T8" fmla="*/ 0 w 308"/>
                <a:gd name="T9" fmla="*/ 180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443">
                  <a:moveTo>
                    <a:pt x="0" y="180"/>
                  </a:moveTo>
                  <a:lnTo>
                    <a:pt x="0" y="443"/>
                  </a:lnTo>
                  <a:lnTo>
                    <a:pt x="308" y="265"/>
                  </a:lnTo>
                  <a:lnTo>
                    <a:pt x="308" y="0"/>
                  </a:lnTo>
                  <a:lnTo>
                    <a:pt x="0" y="18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83" name="Freeform 33">
              <a:extLst>
                <a:ext uri="{FF2B5EF4-FFF2-40B4-BE49-F238E27FC236}">
                  <a16:creationId xmlns:a16="http://schemas.microsoft.com/office/drawing/2014/main" id="{768FFEEA-8F53-4EC7-8C26-390FD9B2D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4398" y="4181476"/>
              <a:ext cx="217487" cy="241300"/>
            </a:xfrm>
            <a:custGeom>
              <a:avLst/>
              <a:gdLst>
                <a:gd name="T0" fmla="*/ 29 w 58"/>
                <a:gd name="T1" fmla="*/ 0 h 64"/>
                <a:gd name="T2" fmla="*/ 32 w 58"/>
                <a:gd name="T3" fmla="*/ 1 h 64"/>
                <a:gd name="T4" fmla="*/ 57 w 58"/>
                <a:gd name="T5" fmla="*/ 27 h 64"/>
                <a:gd name="T6" fmla="*/ 54 w 58"/>
                <a:gd name="T7" fmla="*/ 34 h 64"/>
                <a:gd name="T8" fmla="*/ 4 w 58"/>
                <a:gd name="T9" fmla="*/ 62 h 64"/>
                <a:gd name="T10" fmla="*/ 2 w 58"/>
                <a:gd name="T11" fmla="*/ 59 h 64"/>
                <a:gd name="T12" fmla="*/ 26 w 58"/>
                <a:gd name="T13" fmla="*/ 4 h 64"/>
                <a:gd name="T14" fmla="*/ 29 w 58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64">
                  <a:moveTo>
                    <a:pt x="29" y="0"/>
                  </a:moveTo>
                  <a:cubicBezTo>
                    <a:pt x="30" y="0"/>
                    <a:pt x="31" y="0"/>
                    <a:pt x="32" y="1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29"/>
                    <a:pt x="57" y="32"/>
                    <a:pt x="54" y="34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1" y="64"/>
                    <a:pt x="0" y="62"/>
                    <a:pt x="2" y="59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2"/>
                    <a:pt x="28" y="1"/>
                    <a:pt x="29" y="0"/>
                  </a:cubicBezTo>
                  <a:close/>
                </a:path>
              </a:pathLst>
            </a:custGeom>
            <a:solidFill>
              <a:srgbClr val="FFF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920" tIns="31961" rIns="63920" bIns="31961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</p:grpSp>
      <p:sp>
        <p:nvSpPr>
          <p:cNvPr id="414" name="Rectangle 413">
            <a:extLst>
              <a:ext uri="{FF2B5EF4-FFF2-40B4-BE49-F238E27FC236}">
                <a16:creationId xmlns:a16="http://schemas.microsoft.com/office/drawing/2014/main" id="{E3D13A83-DFA2-4FE8-BD49-1321212E4666}"/>
              </a:ext>
            </a:extLst>
          </p:cNvPr>
          <p:cNvSpPr/>
          <p:nvPr/>
        </p:nvSpPr>
        <p:spPr>
          <a:xfrm>
            <a:off x="10292147" y="8772317"/>
            <a:ext cx="2287031" cy="584775"/>
          </a:xfrm>
          <a:prstGeom prst="rect">
            <a:avLst/>
          </a:prstGeom>
          <a:solidFill>
            <a:srgbClr val="00B050">
              <a:alpha val="59000"/>
            </a:srgbClr>
          </a:solidFill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fr-FR" sz="11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chitect </a:t>
            </a:r>
            <a:r>
              <a:rPr lang="fr-FR" sz="11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</a:t>
            </a:r>
            <a:r>
              <a:rPr lang="fr-FR" sz="11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marL="180975" lvl="3" indent="-180975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e</a:t>
            </a: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impact on </a:t>
            </a: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alue and </a:t>
            </a: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fr-FR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endParaRPr lang="fr-FR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7" name="Shape 2282">
            <a:extLst>
              <a:ext uri="{FF2B5EF4-FFF2-40B4-BE49-F238E27FC236}">
                <a16:creationId xmlns:a16="http://schemas.microsoft.com/office/drawing/2014/main" id="{09153C0F-AA93-4023-A799-F8B885AD2273}"/>
              </a:ext>
            </a:extLst>
          </p:cNvPr>
          <p:cNvSpPr/>
          <p:nvPr/>
        </p:nvSpPr>
        <p:spPr>
          <a:xfrm>
            <a:off x="9814754" y="8900631"/>
            <a:ext cx="437564" cy="4435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7" h="21600" extrusionOk="0">
                <a:moveTo>
                  <a:pt x="10797" y="0"/>
                </a:moveTo>
                <a:cubicBezTo>
                  <a:pt x="9696" y="0"/>
                  <a:pt x="8790" y="903"/>
                  <a:pt x="8776" y="2011"/>
                </a:cubicBezTo>
                <a:cubicBezTo>
                  <a:pt x="8761" y="3371"/>
                  <a:pt x="8338" y="5720"/>
                  <a:pt x="6072" y="6911"/>
                </a:cubicBezTo>
                <a:cubicBezTo>
                  <a:pt x="5906" y="6999"/>
                  <a:pt x="5431" y="7231"/>
                  <a:pt x="5362" y="7262"/>
                </a:cubicBezTo>
                <a:cubicBezTo>
                  <a:pt x="5010" y="6970"/>
                  <a:pt x="4540" y="6754"/>
                  <a:pt x="4051" y="6754"/>
                </a:cubicBezTo>
                <a:lnTo>
                  <a:pt x="2021" y="6754"/>
                </a:lnTo>
                <a:cubicBezTo>
                  <a:pt x="905" y="6754"/>
                  <a:pt x="0" y="7658"/>
                  <a:pt x="0" y="8775"/>
                </a:cubicBezTo>
                <a:lnTo>
                  <a:pt x="0" y="19579"/>
                </a:lnTo>
                <a:cubicBezTo>
                  <a:pt x="0" y="20696"/>
                  <a:pt x="905" y="21600"/>
                  <a:pt x="2021" y="21600"/>
                </a:cubicBezTo>
                <a:lnTo>
                  <a:pt x="4051" y="21600"/>
                </a:lnTo>
                <a:cubicBezTo>
                  <a:pt x="4855" y="21600"/>
                  <a:pt x="5525" y="21118"/>
                  <a:pt x="5851" y="20437"/>
                </a:cubicBezTo>
                <a:cubicBezTo>
                  <a:pt x="5859" y="20440"/>
                  <a:pt x="5870" y="20445"/>
                  <a:pt x="5878" y="20447"/>
                </a:cubicBezTo>
                <a:cubicBezTo>
                  <a:pt x="5924" y="20459"/>
                  <a:pt x="5980" y="20475"/>
                  <a:pt x="6045" y="20493"/>
                </a:cubicBezTo>
                <a:cubicBezTo>
                  <a:pt x="6056" y="20495"/>
                  <a:pt x="6060" y="20489"/>
                  <a:pt x="6072" y="20493"/>
                </a:cubicBezTo>
                <a:cubicBezTo>
                  <a:pt x="6462" y="20589"/>
                  <a:pt x="7213" y="20771"/>
                  <a:pt x="8813" y="21139"/>
                </a:cubicBezTo>
                <a:cubicBezTo>
                  <a:pt x="9157" y="21216"/>
                  <a:pt x="10968" y="21600"/>
                  <a:pt x="12846" y="21600"/>
                </a:cubicBezTo>
                <a:lnTo>
                  <a:pt x="16537" y="21600"/>
                </a:lnTo>
                <a:cubicBezTo>
                  <a:pt x="17663" y="21600"/>
                  <a:pt x="18472" y="21168"/>
                  <a:pt x="18955" y="20299"/>
                </a:cubicBezTo>
                <a:cubicBezTo>
                  <a:pt x="18962" y="20286"/>
                  <a:pt x="19115" y="19989"/>
                  <a:pt x="19241" y="19579"/>
                </a:cubicBezTo>
                <a:cubicBezTo>
                  <a:pt x="19336" y="19271"/>
                  <a:pt x="19374" y="18832"/>
                  <a:pt x="19260" y="18389"/>
                </a:cubicBezTo>
                <a:cubicBezTo>
                  <a:pt x="19984" y="17891"/>
                  <a:pt x="20215" y="17135"/>
                  <a:pt x="20367" y="16645"/>
                </a:cubicBezTo>
                <a:cubicBezTo>
                  <a:pt x="20621" y="15840"/>
                  <a:pt x="20544" y="15242"/>
                  <a:pt x="20367" y="14809"/>
                </a:cubicBezTo>
                <a:cubicBezTo>
                  <a:pt x="20775" y="14424"/>
                  <a:pt x="21124" y="13832"/>
                  <a:pt x="21271" y="12936"/>
                </a:cubicBezTo>
                <a:cubicBezTo>
                  <a:pt x="21363" y="12381"/>
                  <a:pt x="21260" y="11815"/>
                  <a:pt x="21004" y="11340"/>
                </a:cubicBezTo>
                <a:cubicBezTo>
                  <a:pt x="21386" y="10911"/>
                  <a:pt x="21566" y="10363"/>
                  <a:pt x="21585" y="9863"/>
                </a:cubicBezTo>
                <a:lnTo>
                  <a:pt x="21594" y="9725"/>
                </a:lnTo>
                <a:cubicBezTo>
                  <a:pt x="21600" y="9636"/>
                  <a:pt x="21594" y="9578"/>
                  <a:pt x="21594" y="9384"/>
                </a:cubicBezTo>
                <a:cubicBezTo>
                  <a:pt x="21594" y="8530"/>
                  <a:pt x="21008" y="7446"/>
                  <a:pt x="19684" y="7068"/>
                </a:cubicBezTo>
                <a:cubicBezTo>
                  <a:pt x="18840" y="6846"/>
                  <a:pt x="16856" y="6849"/>
                  <a:pt x="13953" y="6772"/>
                </a:cubicBezTo>
                <a:cubicBezTo>
                  <a:pt x="14091" y="6139"/>
                  <a:pt x="14119" y="5572"/>
                  <a:pt x="14119" y="4558"/>
                </a:cubicBezTo>
                <a:cubicBezTo>
                  <a:pt x="14119" y="2136"/>
                  <a:pt x="12359" y="0"/>
                  <a:pt x="10797" y="0"/>
                </a:cubicBezTo>
                <a:close/>
                <a:moveTo>
                  <a:pt x="10797" y="1347"/>
                </a:moveTo>
                <a:cubicBezTo>
                  <a:pt x="11511" y="1347"/>
                  <a:pt x="12772" y="2785"/>
                  <a:pt x="12772" y="4558"/>
                </a:cubicBezTo>
                <a:cubicBezTo>
                  <a:pt x="12772" y="6159"/>
                  <a:pt x="12706" y="6433"/>
                  <a:pt x="12145" y="8101"/>
                </a:cubicBezTo>
                <a:cubicBezTo>
                  <a:pt x="18895" y="8101"/>
                  <a:pt x="18848" y="8194"/>
                  <a:pt x="19444" y="8350"/>
                </a:cubicBezTo>
                <a:cubicBezTo>
                  <a:pt x="20183" y="8561"/>
                  <a:pt x="20247" y="9173"/>
                  <a:pt x="20247" y="9384"/>
                </a:cubicBezTo>
                <a:cubicBezTo>
                  <a:pt x="20247" y="9615"/>
                  <a:pt x="20246" y="9581"/>
                  <a:pt x="20238" y="9808"/>
                </a:cubicBezTo>
                <a:cubicBezTo>
                  <a:pt x="20224" y="10142"/>
                  <a:pt x="20081" y="10805"/>
                  <a:pt x="18900" y="10805"/>
                </a:cubicBezTo>
                <a:lnTo>
                  <a:pt x="17552" y="10805"/>
                </a:lnTo>
                <a:cubicBezTo>
                  <a:pt x="17366" y="10805"/>
                  <a:pt x="17211" y="10950"/>
                  <a:pt x="17211" y="11137"/>
                </a:cubicBezTo>
                <a:cubicBezTo>
                  <a:pt x="17211" y="11323"/>
                  <a:pt x="17366" y="11478"/>
                  <a:pt x="17552" y="11478"/>
                </a:cubicBezTo>
                <a:lnTo>
                  <a:pt x="18854" y="11478"/>
                </a:lnTo>
                <a:cubicBezTo>
                  <a:pt x="19866" y="11478"/>
                  <a:pt x="19999" y="12319"/>
                  <a:pt x="19933" y="12724"/>
                </a:cubicBezTo>
                <a:cubicBezTo>
                  <a:pt x="19851" y="13228"/>
                  <a:pt x="19615" y="14182"/>
                  <a:pt x="18475" y="14182"/>
                </a:cubicBezTo>
                <a:lnTo>
                  <a:pt x="16869" y="14182"/>
                </a:lnTo>
                <a:cubicBezTo>
                  <a:pt x="16683" y="14182"/>
                  <a:pt x="16537" y="14327"/>
                  <a:pt x="16537" y="14514"/>
                </a:cubicBezTo>
                <a:cubicBezTo>
                  <a:pt x="16537" y="14700"/>
                  <a:pt x="16683" y="14855"/>
                  <a:pt x="16869" y="14855"/>
                </a:cubicBezTo>
                <a:lnTo>
                  <a:pt x="18198" y="14855"/>
                </a:lnTo>
                <a:cubicBezTo>
                  <a:pt x="19338" y="14855"/>
                  <a:pt x="19239" y="15720"/>
                  <a:pt x="19075" y="16239"/>
                </a:cubicBezTo>
                <a:cubicBezTo>
                  <a:pt x="18860" y="16920"/>
                  <a:pt x="18729" y="17549"/>
                  <a:pt x="17294" y="17549"/>
                </a:cubicBezTo>
                <a:lnTo>
                  <a:pt x="16196" y="17549"/>
                </a:lnTo>
                <a:cubicBezTo>
                  <a:pt x="16009" y="17549"/>
                  <a:pt x="15854" y="17704"/>
                  <a:pt x="15854" y="17891"/>
                </a:cubicBezTo>
                <a:cubicBezTo>
                  <a:pt x="15854" y="18077"/>
                  <a:pt x="16009" y="18232"/>
                  <a:pt x="16196" y="18232"/>
                </a:cubicBezTo>
                <a:lnTo>
                  <a:pt x="17257" y="18232"/>
                </a:lnTo>
                <a:cubicBezTo>
                  <a:pt x="17995" y="18232"/>
                  <a:pt x="18026" y="18932"/>
                  <a:pt x="17949" y="19183"/>
                </a:cubicBezTo>
                <a:cubicBezTo>
                  <a:pt x="17865" y="19457"/>
                  <a:pt x="17769" y="19653"/>
                  <a:pt x="17765" y="19662"/>
                </a:cubicBezTo>
                <a:cubicBezTo>
                  <a:pt x="17560" y="20030"/>
                  <a:pt x="17233" y="20253"/>
                  <a:pt x="16537" y="20253"/>
                </a:cubicBezTo>
                <a:lnTo>
                  <a:pt x="12846" y="20253"/>
                </a:lnTo>
                <a:cubicBezTo>
                  <a:pt x="10992" y="20253"/>
                  <a:pt x="9147" y="19830"/>
                  <a:pt x="9099" y="19819"/>
                </a:cubicBezTo>
                <a:cubicBezTo>
                  <a:pt x="6295" y="19173"/>
                  <a:pt x="6147" y="19131"/>
                  <a:pt x="5971" y="19081"/>
                </a:cubicBezTo>
                <a:cubicBezTo>
                  <a:pt x="5971" y="19081"/>
                  <a:pt x="5408" y="18980"/>
                  <a:pt x="5408" y="18481"/>
                </a:cubicBezTo>
                <a:lnTo>
                  <a:pt x="5399" y="9153"/>
                </a:lnTo>
                <a:cubicBezTo>
                  <a:pt x="5399" y="8837"/>
                  <a:pt x="5600" y="8553"/>
                  <a:pt x="5934" y="8452"/>
                </a:cubicBezTo>
                <a:cubicBezTo>
                  <a:pt x="5976" y="8435"/>
                  <a:pt x="6032" y="8423"/>
                  <a:pt x="6072" y="8406"/>
                </a:cubicBezTo>
                <a:cubicBezTo>
                  <a:pt x="9156" y="7129"/>
                  <a:pt x="10096" y="4321"/>
                  <a:pt x="10124" y="2021"/>
                </a:cubicBezTo>
                <a:cubicBezTo>
                  <a:pt x="10127" y="1698"/>
                  <a:pt x="10375" y="1347"/>
                  <a:pt x="10797" y="1347"/>
                </a:cubicBezTo>
                <a:close/>
                <a:moveTo>
                  <a:pt x="2021" y="8101"/>
                </a:moveTo>
                <a:lnTo>
                  <a:pt x="4051" y="8101"/>
                </a:lnTo>
                <a:cubicBezTo>
                  <a:pt x="4425" y="8101"/>
                  <a:pt x="4725" y="8402"/>
                  <a:pt x="4725" y="8775"/>
                </a:cubicBezTo>
                <a:cubicBezTo>
                  <a:pt x="4725" y="8775"/>
                  <a:pt x="4725" y="19579"/>
                  <a:pt x="4725" y="19579"/>
                </a:cubicBezTo>
                <a:cubicBezTo>
                  <a:pt x="4725" y="19953"/>
                  <a:pt x="4425" y="20253"/>
                  <a:pt x="4051" y="20253"/>
                </a:cubicBezTo>
                <a:lnTo>
                  <a:pt x="2021" y="20253"/>
                </a:lnTo>
                <a:cubicBezTo>
                  <a:pt x="1648" y="20253"/>
                  <a:pt x="1347" y="19953"/>
                  <a:pt x="1347" y="19579"/>
                </a:cubicBezTo>
                <a:lnTo>
                  <a:pt x="1347" y="8775"/>
                </a:lnTo>
                <a:cubicBezTo>
                  <a:pt x="1347" y="8402"/>
                  <a:pt x="1648" y="8101"/>
                  <a:pt x="2021" y="8101"/>
                </a:cubicBezTo>
                <a:close/>
                <a:moveTo>
                  <a:pt x="3036" y="17549"/>
                </a:moveTo>
                <a:cubicBezTo>
                  <a:pt x="2477" y="17549"/>
                  <a:pt x="2021" y="18005"/>
                  <a:pt x="2021" y="18564"/>
                </a:cubicBezTo>
                <a:cubicBezTo>
                  <a:pt x="2021" y="19124"/>
                  <a:pt x="2477" y="19579"/>
                  <a:pt x="3036" y="19579"/>
                </a:cubicBezTo>
                <a:cubicBezTo>
                  <a:pt x="3595" y="19579"/>
                  <a:pt x="4051" y="19124"/>
                  <a:pt x="4051" y="18564"/>
                </a:cubicBezTo>
                <a:cubicBezTo>
                  <a:pt x="4051" y="18005"/>
                  <a:pt x="3595" y="17549"/>
                  <a:pt x="3036" y="17549"/>
                </a:cubicBezTo>
                <a:close/>
                <a:moveTo>
                  <a:pt x="3036" y="18232"/>
                </a:moveTo>
                <a:cubicBezTo>
                  <a:pt x="3222" y="18232"/>
                  <a:pt x="3368" y="18378"/>
                  <a:pt x="3368" y="18564"/>
                </a:cubicBezTo>
                <a:cubicBezTo>
                  <a:pt x="3368" y="18750"/>
                  <a:pt x="3222" y="18906"/>
                  <a:pt x="3036" y="18906"/>
                </a:cubicBezTo>
                <a:cubicBezTo>
                  <a:pt x="2851" y="18906"/>
                  <a:pt x="2695" y="18750"/>
                  <a:pt x="2695" y="18564"/>
                </a:cubicBezTo>
                <a:cubicBezTo>
                  <a:pt x="2695" y="18378"/>
                  <a:pt x="2851" y="18232"/>
                  <a:pt x="3036" y="18232"/>
                </a:cubicBezTo>
                <a:close/>
              </a:path>
            </a:pathLst>
          </a:custGeom>
          <a:solidFill>
            <a:srgbClr val="00B050"/>
          </a:solidFill>
          <a:ln w="12700" cap="flat">
            <a:noFill/>
            <a:miter lim="400000"/>
          </a:ln>
          <a:effectLst/>
        </p:spPr>
        <p:txBody>
          <a:bodyPr wrap="square" lIns="71120" tIns="71120" rIns="71120" bIns="71120" numCol="1" anchor="ctr">
            <a:noAutofit/>
          </a:bodyPr>
          <a:lstStyle/>
          <a:p>
            <a:pPr lvl="0">
              <a:defRPr sz="3200"/>
            </a:pPr>
            <a:endParaRPr sz="3733" dirty="0">
              <a:solidFill>
                <a:schemeClr val="bg1"/>
              </a:solidFill>
            </a:endParaRPr>
          </a:p>
        </p:txBody>
      </p:sp>
      <p:grpSp>
        <p:nvGrpSpPr>
          <p:cNvPr id="418" name="Groupe 417">
            <a:extLst>
              <a:ext uri="{FF2B5EF4-FFF2-40B4-BE49-F238E27FC236}">
                <a16:creationId xmlns:a16="http://schemas.microsoft.com/office/drawing/2014/main" id="{8E264625-3008-499C-B7FF-EC66DDF571D2}"/>
              </a:ext>
            </a:extLst>
          </p:cNvPr>
          <p:cNvGrpSpPr/>
          <p:nvPr/>
        </p:nvGrpSpPr>
        <p:grpSpPr>
          <a:xfrm>
            <a:off x="2180994" y="7080102"/>
            <a:ext cx="3420328" cy="1793070"/>
            <a:chOff x="437906" y="6351208"/>
            <a:chExt cx="5756087" cy="2436147"/>
          </a:xfrm>
        </p:grpSpPr>
        <p:sp>
          <p:nvSpPr>
            <p:cNvPr id="419" name="Rectangle 2">
              <a:extLst>
                <a:ext uri="{FF2B5EF4-FFF2-40B4-BE49-F238E27FC236}">
                  <a16:creationId xmlns:a16="http://schemas.microsoft.com/office/drawing/2014/main" id="{F0B020B9-D85C-4A6B-94E5-42CC48615121}"/>
                </a:ext>
              </a:extLst>
            </p:cNvPr>
            <p:cNvSpPr/>
            <p:nvPr/>
          </p:nvSpPr>
          <p:spPr>
            <a:xfrm rot="10800000">
              <a:off x="437906" y="6351208"/>
              <a:ext cx="5756087" cy="2436147"/>
            </a:xfrm>
            <a:prstGeom prst="roundRect">
              <a:avLst/>
            </a:prstGeom>
            <a:solidFill>
              <a:schemeClr val="bg1">
                <a:lumMod val="50000"/>
                <a:alpha val="8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sp>
          <p:nvSpPr>
            <p:cNvPr id="420" name="Espace réservé du contenu 7">
              <a:extLst>
                <a:ext uri="{FF2B5EF4-FFF2-40B4-BE49-F238E27FC236}">
                  <a16:creationId xmlns:a16="http://schemas.microsoft.com/office/drawing/2014/main" id="{5FD13439-BFCC-4BBF-BCD3-933CD0732B50}"/>
                </a:ext>
              </a:extLst>
            </p:cNvPr>
            <p:cNvSpPr txBox="1">
              <a:spLocks/>
            </p:cNvSpPr>
            <p:nvPr/>
          </p:nvSpPr>
          <p:spPr>
            <a:xfrm>
              <a:off x="632798" y="6538597"/>
              <a:ext cx="2473948" cy="1425501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0"/>
                </a:spcAft>
                <a:buFont typeface="Arial" pitchFamily="34" charset="0"/>
                <a:buNone/>
                <a:defRPr sz="2400" b="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None/>
                <a:defRPr sz="1600" b="1" kern="1200" cap="all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2pPr>
              <a:lvl3pPr marL="0" indent="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None/>
                <a:defRPr sz="130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3pPr>
              <a:lvl4pPr marL="0" indent="-18000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bg2"/>
                </a:buClr>
                <a:buFont typeface="Wingdings" pitchFamily="2" charset="2"/>
                <a:buChar char="l"/>
                <a:defRPr sz="120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4pPr>
              <a:lvl5pPr marL="180000" indent="0" algn="just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Font typeface="Wingdings" pitchFamily="2" charset="2"/>
                <a:buNone/>
                <a:defRPr sz="120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5pPr>
              <a:lvl6pPr marL="540000" indent="-180000" algn="just" defTabSz="89535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rgbClr val="5E514D"/>
                </a:buClr>
                <a:buSzPct val="150000"/>
                <a:buFont typeface="Lucida Grande"/>
                <a:buChar char="•"/>
                <a:defRPr sz="1200" b="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6pPr>
              <a:lvl7pPr marL="540000" indent="0" algn="just" defTabSz="89535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FontTx/>
                <a:buNone/>
                <a:defRPr sz="1200" b="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7pPr>
              <a:lvl8pPr marL="900000" indent="-180975" algn="just" defTabSz="895350" rtl="0" eaLnBrk="1" latinLnBrk="0" hangingPunct="1"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SzPct val="80000"/>
                <a:buFont typeface="Wingdings" pitchFamily="2" charset="2"/>
                <a:buChar char="l"/>
                <a:defRPr sz="1200" b="0" kern="1200">
                  <a:solidFill>
                    <a:srgbClr val="5E514D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ct val="20000"/>
                </a:spcBef>
                <a:buFontTx/>
                <a:buNone/>
                <a:defRPr sz="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4" algn="l" fontAlgn="base" hangingPunct="0">
                <a:lnSpc>
                  <a:spcPct val="100000"/>
                </a:lnSpc>
                <a:spcAft>
                  <a:spcPct val="0"/>
                </a:spcAft>
                <a:buClr>
                  <a:prstClr val="white"/>
                </a:buClr>
              </a:pPr>
              <a:r>
                <a:rPr lang="fr-FR" sz="1050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For the </a:t>
              </a:r>
              <a:r>
                <a:rPr lang="fr-FR" sz="1050" dirty="0" err="1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selected</a:t>
              </a:r>
              <a:r>
                <a:rPr lang="fr-FR" sz="1050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 </a:t>
              </a:r>
              <a:r>
                <a:rPr lang="fr-FR" sz="1050" dirty="0" err="1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NFRs</a:t>
              </a:r>
              <a:r>
                <a:rPr lang="fr-FR" sz="1050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, </a:t>
              </a:r>
              <a:r>
                <a:rPr lang="fr-FR" sz="1050" dirty="0" err="1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define</a:t>
              </a:r>
              <a:r>
                <a:rPr lang="fr-FR" sz="1050" dirty="0">
                  <a:solidFill>
                    <a:schemeClr val="bg1"/>
                  </a:solidFill>
                  <a:latin typeface="Aharoni" panose="02010803020104030203" pitchFamily="2" charset="-79"/>
                  <a:cs typeface="Aharoni" panose="02010803020104030203" pitchFamily="2" charset="-79"/>
                </a:rPr>
                <a:t> :</a:t>
              </a:r>
            </a:p>
            <a:p>
              <a:pPr marL="180975" lvl="4" indent="-180975" algn="l" fontAlgn="base" hangingPunct="0">
                <a:lnSpc>
                  <a:spcPct val="100000"/>
                </a:lnSpc>
                <a:spcAft>
                  <a:spcPct val="0"/>
                </a:spcAft>
                <a:buClr>
                  <a:prstClr val="white"/>
                </a:buClr>
                <a:buFont typeface="Wingdings" pitchFamily="2" charset="2"/>
                <a:buChar char="§"/>
              </a:pPr>
              <a:r>
                <a:rPr lang="fr-FR" sz="1050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Vho</a:t>
              </a:r>
              <a:r>
                <a:rPr lang="fr-FR" sz="1050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  </a:t>
              </a:r>
              <a:r>
                <a:rPr lang="fr-FR" sz="1050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is</a:t>
              </a:r>
              <a:r>
                <a:rPr lang="fr-FR" sz="1050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 </a:t>
              </a:r>
              <a:r>
                <a:rPr lang="fr-FR" sz="1050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accountable</a:t>
              </a:r>
              <a:r>
                <a:rPr lang="fr-FR" sz="1050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 of the </a:t>
              </a:r>
              <a:r>
                <a:rPr lang="fr-FR" sz="1050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result</a:t>
              </a:r>
              <a:r>
                <a:rPr lang="fr-FR" sz="1050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 </a:t>
              </a:r>
            </a:p>
            <a:p>
              <a:pPr marL="180975" lvl="4" indent="-180975" algn="l" fontAlgn="base" hangingPunct="0">
                <a:lnSpc>
                  <a:spcPct val="100000"/>
                </a:lnSpc>
                <a:spcAft>
                  <a:spcPct val="0"/>
                </a:spcAft>
                <a:buClr>
                  <a:prstClr val="white"/>
                </a:buClr>
                <a:buFont typeface="Wingdings" pitchFamily="2" charset="2"/>
                <a:buChar char="§"/>
              </a:pPr>
              <a:r>
                <a:rPr lang="fr-FR" sz="1050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Who</a:t>
              </a:r>
              <a:r>
                <a:rPr lang="fr-FR" sz="1050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 </a:t>
              </a:r>
              <a:r>
                <a:rPr lang="fr-FR" sz="1050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is</a:t>
              </a:r>
              <a:r>
                <a:rPr lang="fr-FR" sz="1050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 </a:t>
              </a:r>
              <a:r>
                <a:rPr lang="fr-FR" sz="1050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accountable</a:t>
              </a:r>
              <a:r>
                <a:rPr lang="fr-FR" sz="1050" dirty="0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 of the </a:t>
              </a:r>
              <a:r>
                <a:rPr lang="fr-FR" sz="1050" dirty="0" err="1">
                  <a:solidFill>
                    <a:prstClr val="white"/>
                  </a:solidFill>
                  <a:latin typeface="Gotham Rounded BoLD"/>
                  <a:cs typeface="Arial" pitchFamily="34" charset="0"/>
                </a:rPr>
                <a:t>measure</a:t>
              </a:r>
              <a:endParaRPr lang="fr-FR" sz="1050" dirty="0">
                <a:solidFill>
                  <a:prstClr val="white"/>
                </a:solidFill>
                <a:latin typeface="Gotham Rounded BoLD"/>
                <a:cs typeface="Arial" pitchFamily="34" charset="0"/>
              </a:endParaRPr>
            </a:p>
            <a:p>
              <a:pPr marL="168914" lvl="4" algn="l" hangingPunct="0">
                <a:buClr>
                  <a:schemeClr val="bg1"/>
                </a:buClr>
              </a:pPr>
              <a:endParaRPr lang="fr-FR" sz="1400" i="1" dirty="0">
                <a:solidFill>
                  <a:schemeClr val="bg1"/>
                </a:solidFill>
                <a:latin typeface="Gotham Rounded BoLD"/>
                <a:cs typeface="Arial" pitchFamily="34" charset="0"/>
              </a:endParaRPr>
            </a:p>
          </p:txBody>
        </p:sp>
        <p:pic>
          <p:nvPicPr>
            <p:cNvPr id="421" name="Image 420">
              <a:extLst>
                <a:ext uri="{FF2B5EF4-FFF2-40B4-BE49-F238E27FC236}">
                  <a16:creationId xmlns:a16="http://schemas.microsoft.com/office/drawing/2014/main" id="{58442D93-6BB2-45DB-AE34-9F2138AAF3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038659" y="6603109"/>
              <a:ext cx="2667430" cy="1886022"/>
            </a:xfrm>
            <a:prstGeom prst="rect">
              <a:avLst/>
            </a:prstGeom>
          </p:spPr>
        </p:pic>
        <p:sp>
          <p:nvSpPr>
            <p:cNvPr id="422" name="Rectangle : coins arrondis 421">
              <a:extLst>
                <a:ext uri="{FF2B5EF4-FFF2-40B4-BE49-F238E27FC236}">
                  <a16:creationId xmlns:a16="http://schemas.microsoft.com/office/drawing/2014/main" id="{D4B5BD01-34B3-43BE-9664-4B917F71C9ED}"/>
                </a:ext>
              </a:extLst>
            </p:cNvPr>
            <p:cNvSpPr/>
            <p:nvPr/>
          </p:nvSpPr>
          <p:spPr>
            <a:xfrm>
              <a:off x="4012487" y="6668323"/>
              <a:ext cx="1655810" cy="1804430"/>
            </a:xfrm>
            <a:prstGeom prst="round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5400"/>
            </a:p>
          </p:txBody>
        </p:sp>
      </p:grpSp>
      <p:sp>
        <p:nvSpPr>
          <p:cNvPr id="423" name="Rectangle 422">
            <a:extLst>
              <a:ext uri="{FF2B5EF4-FFF2-40B4-BE49-F238E27FC236}">
                <a16:creationId xmlns:a16="http://schemas.microsoft.com/office/drawing/2014/main" id="{4D8AA444-A92F-413D-A145-629B2D3A1DF5}"/>
              </a:ext>
            </a:extLst>
          </p:cNvPr>
          <p:cNvSpPr/>
          <p:nvPr/>
        </p:nvSpPr>
        <p:spPr>
          <a:xfrm>
            <a:off x="3175293" y="8617643"/>
            <a:ext cx="208903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8921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200" i="1" kern="0" dirty="0">
                <a:solidFill>
                  <a:prstClr val="white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FITNESS FUNCTION CARTD</a:t>
            </a:r>
            <a:endParaRPr lang="fr-FR" sz="1200" kern="0" dirty="0">
              <a:solidFill>
                <a:prstClr val="black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A51756A-1C15-4E05-AD2D-E506A0CABDB4}"/>
              </a:ext>
            </a:extLst>
          </p:cNvPr>
          <p:cNvSpPr/>
          <p:nvPr/>
        </p:nvSpPr>
        <p:spPr>
          <a:xfrm>
            <a:off x="8991730" y="4448593"/>
            <a:ext cx="32800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892176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>
                  <a:lumMod val="95000"/>
                  <a:lumOff val="5000"/>
                </a:schemeClr>
              </a:buClr>
            </a:pPr>
            <a:r>
              <a:rPr lang="fr-FR" sz="1200" i="1" kern="0" dirty="0">
                <a:solidFill>
                  <a:prstClr val="white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NON FUNCTIONAL REQUIREMENT GRID</a:t>
            </a:r>
          </a:p>
        </p:txBody>
      </p:sp>
      <p:cxnSp>
        <p:nvCxnSpPr>
          <p:cNvPr id="426" name="Connecteur droit 425">
            <a:extLst>
              <a:ext uri="{FF2B5EF4-FFF2-40B4-BE49-F238E27FC236}">
                <a16:creationId xmlns:a16="http://schemas.microsoft.com/office/drawing/2014/main" id="{FF8EC8EF-E418-4921-9C01-DC231BADB2A8}"/>
              </a:ext>
            </a:extLst>
          </p:cNvPr>
          <p:cNvCxnSpPr>
            <a:cxnSpLocks/>
            <a:stCxn id="170" idx="1"/>
          </p:cNvCxnSpPr>
          <p:nvPr/>
        </p:nvCxnSpPr>
        <p:spPr>
          <a:xfrm>
            <a:off x="3829216" y="3934888"/>
            <a:ext cx="597527" cy="36729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31" name="Graphique 1">
            <a:extLst>
              <a:ext uri="{FF2B5EF4-FFF2-40B4-BE49-F238E27FC236}">
                <a16:creationId xmlns:a16="http://schemas.microsoft.com/office/drawing/2014/main" id="{05B1DA0F-1CE3-4256-9A22-7490893B412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977" y="-36844"/>
            <a:ext cx="12847320" cy="840105"/>
          </a:xfrm>
          <a:prstGeom prst="rect">
            <a:avLst/>
          </a:prstGeom>
        </p:spPr>
      </p:pic>
      <p:pic>
        <p:nvPicPr>
          <p:cNvPr id="236" name="Image 235">
            <a:extLst>
              <a:ext uri="{FF2B5EF4-FFF2-40B4-BE49-F238E27FC236}">
                <a16:creationId xmlns:a16="http://schemas.microsoft.com/office/drawing/2014/main" id="{1706C608-A069-41A5-A197-CE0AFA076C09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65"/>
          <a:stretch/>
        </p:blipFill>
        <p:spPr>
          <a:xfrm>
            <a:off x="185431" y="157163"/>
            <a:ext cx="906569" cy="1249483"/>
          </a:xfrm>
          <a:prstGeom prst="rect">
            <a:avLst/>
          </a:prstGeom>
        </p:spPr>
      </p:pic>
      <p:sp>
        <p:nvSpPr>
          <p:cNvPr id="237" name="ZoneTexte 236">
            <a:extLst>
              <a:ext uri="{FF2B5EF4-FFF2-40B4-BE49-F238E27FC236}">
                <a16:creationId xmlns:a16="http://schemas.microsoft.com/office/drawing/2014/main" id="{CF108AFB-2526-4F9F-A39A-7D84EE09476D}"/>
              </a:ext>
            </a:extLst>
          </p:cNvPr>
          <p:cNvSpPr txBox="1"/>
          <p:nvPr/>
        </p:nvSpPr>
        <p:spPr>
          <a:xfrm>
            <a:off x="1342837" y="74550"/>
            <a:ext cx="45631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200" b="1" dirty="0">
                <a:solidFill>
                  <a:schemeClr val="tx2"/>
                </a:solidFill>
                <a:latin typeface="Gotham Rounded Bold" pitchFamily="50" charset="0"/>
              </a:rPr>
              <a:t>FITNESS FUNCTION</a:t>
            </a:r>
          </a:p>
        </p:txBody>
      </p:sp>
      <p:sp>
        <p:nvSpPr>
          <p:cNvPr id="239" name="ZoneTexte 103">
            <a:extLst>
              <a:ext uri="{FF2B5EF4-FFF2-40B4-BE49-F238E27FC236}">
                <a16:creationId xmlns:a16="http://schemas.microsoft.com/office/drawing/2014/main" id="{E0EB469E-F819-4C1D-BAA2-ACBA0051AFA3}"/>
              </a:ext>
            </a:extLst>
          </p:cNvPr>
          <p:cNvSpPr txBox="1"/>
          <p:nvPr/>
        </p:nvSpPr>
        <p:spPr>
          <a:xfrm>
            <a:off x="7947227" y="20636"/>
            <a:ext cx="2837587" cy="708283"/>
          </a:xfrm>
          <a:prstGeom prst="rect">
            <a:avLst/>
          </a:prstGeom>
          <a:solidFill>
            <a:schemeClr val="bg1">
              <a:lumMod val="95000"/>
            </a:schemeClr>
          </a:solidFill>
          <a:ln w="76200">
            <a:solidFill>
              <a:schemeClr val="bg1">
                <a:lumMod val="95000"/>
              </a:schemeClr>
            </a:solidFill>
          </a:ln>
        </p:spPr>
        <p:txBody>
          <a:bodyPr wrap="none">
            <a:noAutofit/>
          </a:bodyPr>
          <a:lstStyle>
            <a:defPPr>
              <a:defRPr lang="fr-FR"/>
            </a:defPPr>
            <a:lvl1pPr marL="0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53410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06819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60229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13638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267048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20457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973867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827276" algn="l" defTabSz="853410" rtl="0" eaLnBrk="1" latinLnBrk="0" hangingPunct="1"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7796144">
              <a:defRPr/>
            </a:pPr>
            <a:r>
              <a:rPr lang="fr-FR" sz="1050" b="1" dirty="0">
                <a:solidFill>
                  <a:schemeClr val="accent5"/>
                </a:solidFill>
                <a:latin typeface="Gotham Rounded Bold" pitchFamily="50" charset="0"/>
                <a:cs typeface="Aharoni" panose="02010803020104030203" pitchFamily="2" charset="-79"/>
              </a:rPr>
              <a:t>CONTINUOUS UPDATE</a:t>
            </a:r>
          </a:p>
          <a:p>
            <a:pPr algn="ctr" defTabSz="7796144">
              <a:defRPr/>
            </a:pPr>
            <a:endParaRPr lang="fr-FR" sz="1050" b="1" dirty="0">
              <a:solidFill>
                <a:schemeClr val="accent5"/>
              </a:solidFill>
              <a:latin typeface="Gotham Rounded Bold" pitchFamily="50" charset="0"/>
              <a:cs typeface="Aharoni" panose="02010803020104030203" pitchFamily="2" charset="-79"/>
            </a:endParaRPr>
          </a:p>
          <a:p>
            <a:pPr algn="ctr" defTabSz="7796144">
              <a:defRPr/>
            </a:pPr>
            <a:r>
              <a:rPr lang="fr-FR" sz="1050" b="1" dirty="0">
                <a:solidFill>
                  <a:schemeClr val="tx2"/>
                </a:solidFill>
                <a:latin typeface="Gotham Rounded Bold" pitchFamily="50" charset="0"/>
                <a:cs typeface="Aharoni" panose="02010803020104030203" pitchFamily="2" charset="-79"/>
              </a:rPr>
              <a:t>SPRINT </a:t>
            </a:r>
          </a:p>
          <a:p>
            <a:pPr algn="ctr" defTabSz="7796144">
              <a:defRPr/>
            </a:pPr>
            <a:r>
              <a:rPr lang="fr-FR" sz="1050" b="1" dirty="0">
                <a:solidFill>
                  <a:schemeClr val="tx2"/>
                </a:solidFill>
                <a:latin typeface="Gotham Rounded Bold" pitchFamily="50" charset="0"/>
                <a:cs typeface="Aharoni" panose="02010803020104030203" pitchFamily="2" charset="-79"/>
              </a:rPr>
              <a:t>TESTING</a:t>
            </a:r>
          </a:p>
        </p:txBody>
      </p:sp>
      <p:pic>
        <p:nvPicPr>
          <p:cNvPr id="225" name="Image 224">
            <a:extLst>
              <a:ext uri="{FF2B5EF4-FFF2-40B4-BE49-F238E27FC236}">
                <a16:creationId xmlns:a16="http://schemas.microsoft.com/office/drawing/2014/main" id="{53CDEA55-2BC8-4294-BD28-77301584FF59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8682" y="262098"/>
            <a:ext cx="474097" cy="428755"/>
          </a:xfrm>
          <a:prstGeom prst="rect">
            <a:avLst/>
          </a:prstGeom>
        </p:spPr>
      </p:pic>
      <p:grpSp>
        <p:nvGrpSpPr>
          <p:cNvPr id="240" name="Groupe 239">
            <a:extLst>
              <a:ext uri="{FF2B5EF4-FFF2-40B4-BE49-F238E27FC236}">
                <a16:creationId xmlns:a16="http://schemas.microsoft.com/office/drawing/2014/main" id="{43859112-215B-4F48-942B-8137DEA1F84A}"/>
              </a:ext>
            </a:extLst>
          </p:cNvPr>
          <p:cNvGrpSpPr/>
          <p:nvPr/>
        </p:nvGrpSpPr>
        <p:grpSpPr>
          <a:xfrm>
            <a:off x="5728841" y="4796903"/>
            <a:ext cx="939805" cy="754289"/>
            <a:chOff x="5703027" y="4739298"/>
            <a:chExt cx="939805" cy="754289"/>
          </a:xfrm>
        </p:grpSpPr>
        <p:sp>
          <p:nvSpPr>
            <p:cNvPr id="241" name="Ellipse 240">
              <a:extLst>
                <a:ext uri="{FF2B5EF4-FFF2-40B4-BE49-F238E27FC236}">
                  <a16:creationId xmlns:a16="http://schemas.microsoft.com/office/drawing/2014/main" id="{F95AB557-DF2B-418B-8651-53A528C6EB07}"/>
                </a:ext>
              </a:extLst>
            </p:cNvPr>
            <p:cNvSpPr/>
            <p:nvPr/>
          </p:nvSpPr>
          <p:spPr>
            <a:xfrm>
              <a:off x="5939243" y="4941770"/>
              <a:ext cx="493081" cy="452104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DELIVERY</a:t>
              </a:r>
            </a:p>
            <a:p>
              <a:pPr algn="ctr" defTabSz="428075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SQUAD(s)</a:t>
              </a:r>
            </a:p>
          </p:txBody>
        </p:sp>
        <p:sp>
          <p:nvSpPr>
            <p:cNvPr id="242" name="Ellipse 241">
              <a:extLst>
                <a:ext uri="{FF2B5EF4-FFF2-40B4-BE49-F238E27FC236}">
                  <a16:creationId xmlns:a16="http://schemas.microsoft.com/office/drawing/2014/main" id="{1B017FCA-BB8F-4BA9-A9FC-D6C6156E232E}"/>
                </a:ext>
              </a:extLst>
            </p:cNvPr>
            <p:cNvSpPr/>
            <p:nvPr/>
          </p:nvSpPr>
          <p:spPr>
            <a:xfrm>
              <a:off x="6313905" y="5192279"/>
              <a:ext cx="328927" cy="301308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FAB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168538" rIns="0" bIns="168538" anchor="ctr"/>
            <a:lstStyle/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TECH</a:t>
              </a:r>
            </a:p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LEAD</a:t>
              </a:r>
            </a:p>
          </p:txBody>
        </p:sp>
        <p:sp>
          <p:nvSpPr>
            <p:cNvPr id="243" name="Ellipse 242">
              <a:extLst>
                <a:ext uri="{FF2B5EF4-FFF2-40B4-BE49-F238E27FC236}">
                  <a16:creationId xmlns:a16="http://schemas.microsoft.com/office/drawing/2014/main" id="{043B6B46-EC43-4570-BB5F-9B54A9D3D1A2}"/>
                </a:ext>
              </a:extLst>
            </p:cNvPr>
            <p:cNvSpPr/>
            <p:nvPr/>
          </p:nvSpPr>
          <p:spPr>
            <a:xfrm>
              <a:off x="5703027" y="5128287"/>
              <a:ext cx="328927" cy="301308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FAB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168538" rIns="0" bIns="168538" anchor="ctr"/>
            <a:lstStyle/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DEV.</a:t>
              </a:r>
            </a:p>
          </p:txBody>
        </p:sp>
        <p:sp>
          <p:nvSpPr>
            <p:cNvPr id="244" name="Ellipse 243">
              <a:extLst>
                <a:ext uri="{FF2B5EF4-FFF2-40B4-BE49-F238E27FC236}">
                  <a16:creationId xmlns:a16="http://schemas.microsoft.com/office/drawing/2014/main" id="{EB2DDDDD-788B-42F1-A50D-DB179D866C24}"/>
                </a:ext>
              </a:extLst>
            </p:cNvPr>
            <p:cNvSpPr/>
            <p:nvPr/>
          </p:nvSpPr>
          <p:spPr>
            <a:xfrm>
              <a:off x="6071728" y="4739298"/>
              <a:ext cx="328617" cy="301592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FAB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168538" rIns="0" bIns="168538" anchor="ctr"/>
            <a:lstStyle/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TEAM</a:t>
              </a:r>
            </a:p>
            <a:p>
              <a:pPr algn="ctr" defTabSz="417643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300" b="1" dirty="0">
                  <a:solidFill>
                    <a:prstClr val="white">
                      <a:lumMod val="50000"/>
                    </a:prstClr>
                  </a:solidFill>
                  <a:latin typeface="Michelin SemiBold"/>
                </a:rPr>
                <a:t>LEADER</a:t>
              </a:r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A716FAEA-4FE9-47B5-95B7-76C569847C2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1045932" y="-7871"/>
            <a:ext cx="1800786" cy="75331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43EBD17-FDAF-4F87-8895-AA3FF69CD34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2386570" y="9390121"/>
            <a:ext cx="415029" cy="227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260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2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2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250"/>
                            </p:stCondLst>
                            <p:childTnLst>
                              <p:par>
                                <p:cTn id="1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3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1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APITR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N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CONTENU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B6676EFF43BD44A973BAF3C3F8897C" ma:contentTypeVersion="11" ma:contentTypeDescription="Crée un document." ma:contentTypeScope="" ma:versionID="16055b838173ea074c74866c85749e9f">
  <xsd:schema xmlns:xsd="http://www.w3.org/2001/XMLSchema" xmlns:xs="http://www.w3.org/2001/XMLSchema" xmlns:p="http://schemas.microsoft.com/office/2006/metadata/properties" xmlns:ns3="e2e26994-5e48-4994-8c16-0b6f61c4bc8a" xmlns:ns4="9f09b4db-7fdb-4a79-a1ce-e7e1d5ac2b17" targetNamespace="http://schemas.microsoft.com/office/2006/metadata/properties" ma:root="true" ma:fieldsID="7356ef530764415288c8753ef1e753cb" ns3:_="" ns4:_="">
    <xsd:import namespace="e2e26994-5e48-4994-8c16-0b6f61c4bc8a"/>
    <xsd:import namespace="9f09b4db-7fdb-4a79-a1ce-e7e1d5ac2b1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26994-5e48-4994-8c16-0b6f61c4b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09b4db-7fdb-4a79-a1ce-e7e1d5ac2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C97AAC-D16A-478F-95B1-E9944B8633B3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terms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9f09b4db-7fdb-4a79-a1ce-e7e1d5ac2b17"/>
    <ds:schemaRef ds:uri="e2e26994-5e48-4994-8c16-0b6f61c4bc8a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345BF31-44AE-4465-BECF-E43C8C381D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AD5B6E1-5864-43C4-95C4-145F391BC4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e26994-5e48-4994-8c16-0b6f61c4bc8a"/>
    <ds:schemaRef ds:uri="9f09b4db-7fdb-4a79-a1ce-e7e1d5ac2b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3</Words>
  <Application>Microsoft Office PowerPoint</Application>
  <PresentationFormat>A3 (297 x 420 mm)</PresentationFormat>
  <Paragraphs>83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24" baseType="lpstr">
      <vt:lpstr>Aharoni</vt:lpstr>
      <vt:lpstr>Arial</vt:lpstr>
      <vt:lpstr>Calibri</vt:lpstr>
      <vt:lpstr>Gloucester MT Extra Condensed</vt:lpstr>
      <vt:lpstr>Gotham Rounded Bold</vt:lpstr>
      <vt:lpstr>Gotham Rounded Bold</vt:lpstr>
      <vt:lpstr>Lucida Grande</vt:lpstr>
      <vt:lpstr>Michelin</vt:lpstr>
      <vt:lpstr>Michelin Black</vt:lpstr>
      <vt:lpstr>Michelin SemiBold</vt:lpstr>
      <vt:lpstr>Rounded Elegance</vt:lpstr>
      <vt:lpstr>Wingdings</vt:lpstr>
      <vt:lpstr>Wingdings 3</vt:lpstr>
      <vt:lpstr>SLIDE 1</vt:lpstr>
      <vt:lpstr>CHAPITRE</vt:lpstr>
      <vt:lpstr>CONTENU</vt:lpstr>
      <vt:lpstr>FIN</vt:lpstr>
      <vt:lpstr>1_CONTENU</vt:lpstr>
      <vt:lpstr>2_CONTENU</vt:lpstr>
      <vt:lpstr>3_CONTENU</vt:lpstr>
      <vt:lpstr>4_CONTENU</vt:lpstr>
      <vt:lpstr>Diapositive think-cell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 a digital Information system EA Steering, March 22nd</dc:title>
  <dc:creator>CHEVALIER Nicolas</dc:creator>
  <cp:lastModifiedBy>nicolas chevalier</cp:lastModifiedBy>
  <cp:revision>570</cp:revision>
  <cp:lastPrinted>2020-01-14T15:27:55Z</cp:lastPrinted>
  <dcterms:modified xsi:type="dcterms:W3CDTF">2020-10-21T08:0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6676EFF43BD44A973BAF3C3F8897C</vt:lpwstr>
  </property>
</Properties>
</file>